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1"/>
    <p:sldMasterId id="2147483854" r:id="rId2"/>
    <p:sldMasterId id="2147483872" r:id="rId3"/>
    <p:sldMasterId id="2147483884" r:id="rId4"/>
    <p:sldMasterId id="2147483896" r:id="rId5"/>
    <p:sldMasterId id="2147483911" r:id="rId6"/>
    <p:sldMasterId id="2147483961" r:id="rId7"/>
  </p:sldMasterIdLst>
  <p:notesMasterIdLst>
    <p:notesMasterId r:id="rId17"/>
  </p:notesMasterIdLst>
  <p:handoutMasterIdLst>
    <p:handoutMasterId r:id="rId18"/>
  </p:handoutMasterIdLst>
  <p:sldIdLst>
    <p:sldId id="1101" r:id="rId8"/>
    <p:sldId id="1085" r:id="rId9"/>
    <p:sldId id="1086" r:id="rId10"/>
    <p:sldId id="1091" r:id="rId11"/>
    <p:sldId id="1097" r:id="rId12"/>
    <p:sldId id="1098" r:id="rId13"/>
    <p:sldId id="1096" r:id="rId14"/>
    <p:sldId id="1099" r:id="rId15"/>
    <p:sldId id="1100" r:id="rId16"/>
  </p:sldIdLst>
  <p:sldSz cx="9144000" cy="5143500" type="screen16x9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EB0"/>
    <a:srgbClr val="96F496"/>
    <a:srgbClr val="FCFF8B"/>
    <a:srgbClr val="27E947"/>
    <a:srgbClr val="B9B9BB"/>
    <a:srgbClr val="BEFAB4"/>
    <a:srgbClr val="0096D6"/>
    <a:srgbClr val="000000"/>
    <a:srgbClr val="FFFF00"/>
    <a:srgbClr val="B9B8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0" autoAdjust="0"/>
    <p:restoredTop sz="95167" autoAdjust="0"/>
  </p:normalViewPr>
  <p:slideViewPr>
    <p:cSldViewPr snapToGrid="0">
      <p:cViewPr>
        <p:scale>
          <a:sx n="106" d="100"/>
          <a:sy n="106" d="100"/>
        </p:scale>
        <p:origin x="984" y="528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-2189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896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150" y="2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6/1/2016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6/1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19" tIns="47060" rIns="94119" bIns="4706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4119" tIns="47060" rIns="94119" bIns="4706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4119" tIns="47060" rIns="94119" bIns="4706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61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302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8291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9125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991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26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637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107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428397" y="4758803"/>
            <a:ext cx="1020278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HP Private</a:t>
            </a:r>
          </a:p>
        </p:txBody>
      </p:sp>
    </p:spTree>
    <p:extLst>
      <p:ext uri="{BB962C8B-B14F-4D97-AF65-F5344CB8AC3E}">
        <p14:creationId xmlns:p14="http://schemas.microsoft.com/office/powerpoint/2010/main" val="2265034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51B37-D63F-4DC7-9412-6DD2964DB44E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31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389427"/>
            <a:ext cx="914399" cy="4182573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9427"/>
            <a:ext cx="7258050" cy="41825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D7BE5E-8B00-44BD-9942-33B103ED2B54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18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746275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996104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2351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9313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33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464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8719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1824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860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05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49"/>
            <a:ext cx="8229600" cy="392415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49250" y="4697413"/>
            <a:ext cx="182563" cy="1079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9F6A2A-6704-44FC-8F10-4AC16B2BC552}" type="slidenum">
              <a:rPr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4856163"/>
            <a:ext cx="3290888" cy="150812"/>
          </a:xfrm>
          <a:prstGeom prst="rect">
            <a:avLst/>
          </a:prstGeom>
        </p:spPr>
        <p:txBody>
          <a:bodyPr/>
          <a:lstStyle>
            <a:lvl1pPr>
              <a:lnSpc>
                <a:spcPts val="1000"/>
              </a:lnSpc>
              <a:defRPr/>
            </a:lvl1pPr>
          </a:lstStyle>
          <a:p>
            <a:pPr>
              <a:defRPr/>
            </a:pPr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4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764496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68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258394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00446BE-545B-475E-B371-37ADEDD23059}" type="datetime1">
              <a:rPr lang="en-US" smtClean="0">
                <a:solidFill>
                  <a:prstClr val="black"/>
                </a:solidFill>
              </a:rPr>
              <a:t>6/1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>
          <a:xfrm>
            <a:off x="377253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BCB5916-4AAC-49F4-A455-201F767E8E8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>
          <a:xfrm>
            <a:off x="2936823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31633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HP_Blu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075" y="365125"/>
            <a:ext cx="1882775" cy="188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5"/>
          <p:cNvSpPr txBox="1"/>
          <p:nvPr userDrawn="1"/>
        </p:nvSpPr>
        <p:spPr>
          <a:xfrm>
            <a:off x="328613" y="4759325"/>
            <a:ext cx="8013700" cy="228600"/>
          </a:xfrm>
          <a:prstGeom prst="rect">
            <a:avLst/>
          </a:prstGeom>
          <a:noFill/>
        </p:spPr>
        <p:txBody>
          <a:bodyPr lIns="0"/>
          <a:lstStyle/>
          <a:p>
            <a:pPr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046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075" y="365125"/>
            <a:ext cx="1882775" cy="188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5"/>
          <p:cNvSpPr txBox="1"/>
          <p:nvPr userDrawn="1"/>
        </p:nvSpPr>
        <p:spPr>
          <a:xfrm>
            <a:off x="328613" y="4759325"/>
            <a:ext cx="8013700" cy="228600"/>
          </a:xfrm>
          <a:prstGeom prst="rect">
            <a:avLst/>
          </a:prstGeom>
          <a:noFill/>
        </p:spPr>
        <p:txBody>
          <a:bodyPr lIns="0"/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2228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8" y="4535488"/>
            <a:ext cx="365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5"/>
          <p:cNvSpPr txBox="1"/>
          <p:nvPr userDrawn="1"/>
        </p:nvSpPr>
        <p:spPr>
          <a:xfrm>
            <a:off x="328613" y="4759325"/>
            <a:ext cx="8013700" cy="228600"/>
          </a:xfrm>
          <a:prstGeom prst="rect">
            <a:avLst/>
          </a:prstGeom>
          <a:noFill/>
        </p:spPr>
        <p:txBody>
          <a:bodyPr lIns="0"/>
          <a:lstStyle/>
          <a:p>
            <a:pPr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6886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 userDrawn="1"/>
        </p:nvSpPr>
        <p:spPr>
          <a:xfrm>
            <a:off x="328613" y="4759325"/>
            <a:ext cx="8013700" cy="228600"/>
          </a:xfrm>
          <a:prstGeom prst="rect">
            <a:avLst/>
          </a:prstGeom>
          <a:noFill/>
        </p:spPr>
        <p:txBody>
          <a:bodyPr lIns="0"/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92144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63242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4334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610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rtlCol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99218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00796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9867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9300" y="4702175"/>
            <a:ext cx="430213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5"/>
          <p:cNvPicPr>
            <a:picLocks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964" b="2100"/>
          <a:stretch>
            <a:fillRect/>
          </a:stretch>
        </p:blipFill>
        <p:spPr bwMode="auto">
          <a:xfrm>
            <a:off x="7918450" y="-239713"/>
            <a:ext cx="1225550" cy="538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812257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fld id="{DC903E85-1F74-45B7-B064-45E38BD5CFFE}" type="datetime1">
              <a:rPr lang="en-US" sz="9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N W3" pitchFamily="-111" charset="-128"/>
                <a:cs typeface="+mn-cs"/>
                <a:sym typeface="Gill Sans" pitchFamily="-111" charset="0"/>
              </a:rPr>
              <a:t>6/1/2016</a:t>
            </a:fld>
            <a:endParaRPr lang="en-US" sz="900" kern="1200">
              <a:solidFill>
                <a:prstClr val="black">
                  <a:tint val="75000"/>
                </a:prstClr>
              </a:solidFill>
              <a:latin typeface="Calibri"/>
              <a:ea typeface="ヒラギノ角ゴ ProN W3" pitchFamily="-111" charset="-128"/>
              <a:cs typeface="+mn-cs"/>
              <a:sym typeface="Gill Sans" pitchFamily="-111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US" sz="900" kern="1200">
              <a:solidFill>
                <a:prstClr val="black">
                  <a:tint val="75000"/>
                </a:prstClr>
              </a:solidFill>
              <a:latin typeface="Calibri"/>
              <a:ea typeface="ヒラギノ角ゴ ProN W3" pitchFamily="-111" charset="-128"/>
              <a:cs typeface="+mn-cs"/>
              <a:sym typeface="Gill Sans" pitchFamily="-111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E8503D34-892C-403C-9FEB-13D6D573FDF3}" type="slidenum">
              <a:rPr lang="en-US" sz="900" kern="120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N W3" pitchFamily="-111" charset="-128"/>
                <a:cs typeface="+mn-cs"/>
                <a:sym typeface="Gill Sans" pitchFamily="-111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kern="1200">
              <a:solidFill>
                <a:prstClr val="black">
                  <a:tint val="75000"/>
                </a:prstClr>
              </a:solidFill>
              <a:latin typeface="Calibri"/>
              <a:ea typeface="ヒラギノ角ゴ ProN W3" pitchFamily="-111" charset="-128"/>
              <a:cs typeface="+mn-cs"/>
              <a:sym typeface="Gill Sans" pitchFamily="-11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3745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with sub-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9488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8150" y="4912519"/>
            <a:ext cx="501650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11216BFA-1D12-495F-A7C5-A136F34E27E7}" type="slidenum">
              <a:rPr lang="en-US">
                <a:solidFill>
                  <a:srgbClr val="00000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979490" y="4912519"/>
            <a:ext cx="1114425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E9F25D37-A814-4EBF-9112-D9A875690666}" type="datetime1">
              <a:rPr lang="en-US" smtClean="0">
                <a:solidFill>
                  <a:srgbClr val="000000"/>
                </a:solidFill>
              </a:rPr>
              <a:t>6/1/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2"/>
          </p:nvPr>
        </p:nvSpPr>
        <p:spPr>
          <a:xfrm>
            <a:off x="2139950" y="4912519"/>
            <a:ext cx="5359400" cy="16430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8386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691750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73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053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5960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765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30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1147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7230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7847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68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>
            <a:off x="6258394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2990934-55E1-4395-B701-C1B9D09D1D31}" type="datetime1">
              <a:rPr lang="en-US" smtClean="0">
                <a:solidFill>
                  <a:prstClr val="black"/>
                </a:solidFill>
              </a:rPr>
              <a:t>6/1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>
          <a:xfrm>
            <a:off x="377253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BCB5916-4AAC-49F4-A455-201F767E8E8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>
          <a:xfrm>
            <a:off x="2936823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22029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12387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685917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1197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8065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03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029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599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1402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6943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  <p:pic>
        <p:nvPicPr>
          <p:cNvPr id="7" name="Picture 6" descr="HP_White_RGB_150_LG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258444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472341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accent5"/>
              </a:solidFill>
              <a:latin typeface="HP Simplified"/>
              <a:cs typeface="HP Simplified"/>
            </a:endParaRPr>
          </a:p>
        </p:txBody>
      </p:sp>
      <p:pic>
        <p:nvPicPr>
          <p:cNvPr id="7" name="Picture 6" descr="HP_Blu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234858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pic>
        <p:nvPicPr>
          <p:cNvPr id="8" name="Picture 7" descr="HP_Whit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1434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254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1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018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11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9100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alf-page text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721"/>
            <a:ext cx="3878263" cy="3219794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7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6088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051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905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375589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4366376"/>
            <a:ext cx="4117184" cy="25441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8" y="342748"/>
            <a:ext cx="2270363" cy="914552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2631976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04770"/>
            <a:ext cx="6856214" cy="52433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4343400"/>
            <a:ext cx="6856214" cy="3429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342900"/>
            <a:ext cx="2735158" cy="265585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548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6171008" cy="145201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909212"/>
            <a:ext cx="6171008" cy="45632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45D21-D8ED-457F-B658-F2D41B9E3E36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57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456605"/>
            <a:ext cx="8228528" cy="41148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742950"/>
            <a:ext cx="6171008" cy="45289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200664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EEA3-E939-4D13-A6F4-8B840BA6875F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15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6C527-47FB-4ED0-A4E5-98F70C399487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/>
          </a:p>
        </p:txBody>
      </p:sp>
      <p:grpSp>
        <p:nvGrpSpPr>
          <p:cNvPr id="12" name="Group 11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270304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3023B-86C8-4FB4-8807-388EBA6D6DED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/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176840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8E5E3C-DD3E-4BA1-B42B-7961337AAF96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/>
          </a:p>
        </p:txBody>
      </p:sp>
    </p:spTree>
    <p:extLst>
      <p:ext uri="{BB962C8B-B14F-4D97-AF65-F5344CB8AC3E}">
        <p14:creationId xmlns:p14="http://schemas.microsoft.com/office/powerpoint/2010/main" val="1208271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10AA23-EB89-41D9-BDF8-ABC4D37C3D88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/>
          </a:p>
        </p:txBody>
      </p:sp>
    </p:spTree>
    <p:extLst>
      <p:ext uri="{BB962C8B-B14F-4D97-AF65-F5344CB8AC3E}">
        <p14:creationId xmlns:p14="http://schemas.microsoft.com/office/powerpoint/2010/main" val="2062501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51F418-D8A7-4D31-B481-ACE525A66AA6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4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285750"/>
            <a:ext cx="7092553" cy="17145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114550"/>
            <a:ext cx="6773923" cy="1028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1" y="4686301"/>
            <a:ext cx="727103" cy="29289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0F8F3-66B8-46C2-B3B0-5406F7C79E11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203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BC613-218B-40C7-B651-FA9C194ACCB1}" type="datetime1">
              <a:rPr lang="en-US" smtClean="0"/>
              <a:t>6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2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7338" cy="3428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3F9FF-9D6F-45AB-8043-C16BA916B2F0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12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14300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615"/>
            <a:ext cx="8227338" cy="30883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424BB-8D6A-4BE1-8E41-FE6119A8FAAA}" type="datetime1">
              <a:rPr lang="en-US" smtClean="0"/>
              <a:t>6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72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AAB5-F0DA-43D9-9F1A-8294FA2CD102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1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1321E-DFA2-41C0-8A27-8F1B41E024C9}" type="datetime1">
              <a:rPr lang="en-US" smtClean="0"/>
              <a:t>6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A65C4-AEC4-4322-8FB6-658690D1C4A6}" type="datetime1">
              <a:rPr lang="en-US" smtClean="0"/>
              <a:t>6/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1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143000"/>
            <a:ext cx="397764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07C6-D72B-4D96-B197-1D907F5A8B53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36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2999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8750"/>
            <a:ext cx="397764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782043-7420-4F70-B003-32381FA1D23B}" type="datetime1">
              <a:rPr lang="en-US" smtClean="0"/>
              <a:t>6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9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143000"/>
            <a:ext cx="3977640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429914"/>
            <a:ext cx="3977640" cy="3142086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BBA8-D867-4C34-89BD-62F69B39FD19}" type="datetime1">
              <a:rPr lang="en-US" smtClean="0"/>
              <a:t>6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26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143000"/>
            <a:ext cx="2571750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5A06A-F9E1-4E42-B0A4-504B30509519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01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B6DD3-E25C-4221-94CD-BA4E73C64884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32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142999"/>
            <a:ext cx="2571631" cy="24003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428750"/>
            <a:ext cx="2571750" cy="31432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ACD7D-3B71-404A-93C8-16E4D7A0372D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75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5886450" cy="3429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143000"/>
            <a:ext cx="2226588" cy="3429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CCBBE-901D-4924-809D-5C8D6AC8FA10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93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F312C-1FE7-4052-B52A-E0FC5471BB10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7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143000"/>
            <a:ext cx="3083838" cy="3429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BAD7C-5602-4188-B55A-2E8782D5B0C5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68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3943350" cy="639273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114550"/>
            <a:ext cx="2743200" cy="14859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389427"/>
            <a:ext cx="4114799" cy="4182573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8A91F-FD8B-4EB2-8ECF-B9BB1621D2CB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1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143000"/>
            <a:ext cx="3984498" cy="2514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3714750"/>
            <a:ext cx="3984498" cy="85725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42B44-E39C-4E01-A3C9-C2C2F266FDFD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21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143000"/>
            <a:ext cx="2571750" cy="200025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3200400"/>
            <a:ext cx="2571750" cy="13716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EAFA-F25B-408B-BE5E-8AB4EC1007A7}" type="datetime1">
              <a:rPr lang="en-US" smtClean="0"/>
              <a:t>6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77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1B187C6-544C-428D-A72C-4B46B0CA36C9}" type="datetime1">
              <a:rPr lang="en-US" smtClean="0"/>
              <a:t>6/1/2016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38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1657350"/>
            <a:ext cx="6172200" cy="142875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6858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3438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34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slideLayout" Target="../slideLayouts/slideLayout97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slideLayout" Target="../slideLayouts/slideLayout9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98.xml"/><Relationship Id="rId35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39" r:id="rId6"/>
    <p:sldLayoutId id="2147483823" r:id="rId7"/>
    <p:sldLayoutId id="2147483824" r:id="rId8"/>
    <p:sldLayoutId id="2147483825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428397" y="4758803"/>
            <a:ext cx="1020278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HP Private</a:t>
            </a:r>
          </a:p>
        </p:txBody>
      </p:sp>
    </p:spTree>
    <p:extLst>
      <p:ext uri="{BB962C8B-B14F-4D97-AF65-F5344CB8AC3E}">
        <p14:creationId xmlns:p14="http://schemas.microsoft.com/office/powerpoint/2010/main" val="294254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5" r:id="rId10"/>
    <p:sldLayoutId id="2147483866" r:id="rId11"/>
    <p:sldLayoutId id="2147483868" r:id="rId12"/>
    <p:sldLayoutId id="2147483871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3" y="234950"/>
            <a:ext cx="8123237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9038"/>
            <a:ext cx="8120063" cy="321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500" y="4759325"/>
            <a:ext cx="8012113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8613" y="4787900"/>
            <a:ext cx="323850" cy="149225"/>
          </a:xfrm>
          <a:prstGeom prst="rect">
            <a:avLst/>
          </a:prstGeom>
        </p:spPr>
        <p:txBody>
          <a:bodyPr wrap="none" lIns="0" anchor="ctr"/>
          <a:lstStyle/>
          <a:p>
            <a:pPr defTabSz="914400">
              <a:defRPr/>
            </a:pPr>
            <a:fld id="{0746B049-7114-4716-942D-8F7075A5F53C}" type="slidenum">
              <a:rPr lang="en-US" sz="700">
                <a:solidFill>
                  <a:srgbClr val="B9B8BB"/>
                </a:solidFill>
                <a:cs typeface="HP Simplified"/>
              </a:rPr>
              <a:pPr defTabSz="914400">
                <a:defRPr/>
              </a:pPr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1030" name="Picture 3" descr="HP_Blue_RGB_150_SM.png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8" y="4535488"/>
            <a:ext cx="365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5287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907" r:id="rId12"/>
    <p:sldLayoutId id="2147483908" r:id="rId13"/>
    <p:sldLayoutId id="2147483909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ts val="400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742950" indent="-285750" algn="l" defTabSz="430213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60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0" fontAlgn="base" hangingPunct="0">
        <a:spcBef>
          <a:spcPct val="0"/>
        </a:spcBef>
        <a:spcAft>
          <a:spcPts val="400"/>
        </a:spcAft>
        <a:buFont typeface="HP Simplified" pitchFamily="34" charset="0"/>
        <a:buChar char="•"/>
        <a:defRPr sz="140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0" fontAlgn="base" hangingPunct="0">
        <a:spcBef>
          <a:spcPct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kern="1200" dirty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0" fontAlgn="base" hangingPunct="0">
        <a:spcBef>
          <a:spcPct val="0"/>
        </a:spcBef>
        <a:spcAft>
          <a:spcPts val="400"/>
        </a:spcAft>
        <a:buFont typeface="HP Simplified" pitchFamily="34" charset="0"/>
        <a:buChar char="•"/>
        <a:defRPr sz="140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240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991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08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81C72DBE-51A0-4429-B92B-EB6F2E8C742F}" type="datetime1">
              <a:rPr lang="en-US" smtClean="0"/>
              <a:t>6/1/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4823152"/>
            <a:ext cx="400049" cy="17411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</p:spTree>
    <p:extLst>
      <p:ext uri="{BB962C8B-B14F-4D97-AF65-F5344CB8AC3E}">
        <p14:creationId xmlns:p14="http://schemas.microsoft.com/office/powerpoint/2010/main" val="425269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3986" r:id="rId25"/>
    <p:sldLayoutId id="2147483987" r:id="rId26"/>
    <p:sldLayoutId id="2147483988" r:id="rId27"/>
    <p:sldLayoutId id="2147483989" r:id="rId28"/>
    <p:sldLayoutId id="2147483990" r:id="rId29"/>
    <p:sldLayoutId id="2147483991" r:id="rId30"/>
    <p:sldLayoutId id="2147483992" r:id="rId31"/>
    <p:sldLayoutId id="2147483993" r:id="rId32"/>
    <p:sldLayoutId id="2147483994" r:id="rId33"/>
    <p:sldLayoutId id="2147483995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795" y="1312752"/>
            <a:ext cx="6172200" cy="1773348"/>
          </a:xfrm>
        </p:spPr>
        <p:txBody>
          <a:bodyPr/>
          <a:lstStyle/>
          <a:p>
            <a:r>
              <a:rPr lang="en-IE" sz="4400" dirty="0" smtClean="0"/>
              <a:t>SA2.0 Curiosity – Production Environment Plan</a:t>
            </a:r>
            <a:endParaRPr lang="en-US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3200400"/>
            <a:ext cx="6172200" cy="106378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E" dirty="0" smtClean="0"/>
              <a:t>PRO H4 (</a:t>
            </a:r>
            <a:r>
              <a:rPr lang="en-IE" dirty="0" err="1" smtClean="0"/>
              <a:t>MapR</a:t>
            </a:r>
            <a:r>
              <a:rPr lang="en-IE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E" dirty="0" smtClean="0"/>
              <a:t>PRO H4 (Hortonworks)</a:t>
            </a:r>
            <a:endParaRPr lang="en-I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E" dirty="0"/>
              <a:t>PRO </a:t>
            </a:r>
            <a:r>
              <a:rPr lang="en-IE" dirty="0" smtClean="0"/>
              <a:t>H9 </a:t>
            </a:r>
            <a:r>
              <a:rPr lang="en-IE" dirty="0"/>
              <a:t>(Hortonworks</a:t>
            </a:r>
            <a:r>
              <a:rPr lang="en-IE" dirty="0" smtClean="0"/>
              <a:t>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E" dirty="0" smtClean="0"/>
              <a:t>01-June-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43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478689" cy="308610"/>
          </a:xfrm>
        </p:spPr>
        <p:txBody>
          <a:bodyPr/>
          <a:lstStyle/>
          <a:p>
            <a:r>
              <a:rPr lang="en-US" dirty="0" smtClean="0"/>
              <a:t>SA2.0 Curiosity </a:t>
            </a:r>
            <a:r>
              <a:rPr lang="en-US" dirty="0" smtClean="0"/>
              <a:t>(Domino) PRO H9 (Hortonworks) </a:t>
            </a:r>
            <a:r>
              <a:rPr lang="en-US" dirty="0" smtClean="0"/>
              <a:t>- </a:t>
            </a:r>
            <a:r>
              <a:rPr lang="en-US" dirty="0" smtClean="0"/>
              <a:t>testing </a:t>
            </a:r>
            <a:r>
              <a:rPr lang="en-US" dirty="0" smtClean="0"/>
              <a:t>timelin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050" y="395876"/>
            <a:ext cx="5320436" cy="4190754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5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 smtClean="0"/>
              <a:t>SA2.0 Curiosity </a:t>
            </a:r>
            <a:r>
              <a:rPr lang="en-US" sz="2000" dirty="0" smtClean="0"/>
              <a:t>(Domino) PRO H4 (</a:t>
            </a:r>
            <a:r>
              <a:rPr lang="en-US" sz="2000" dirty="0" err="1" smtClean="0"/>
              <a:t>MapR</a:t>
            </a:r>
            <a:r>
              <a:rPr lang="en-US" sz="2000" dirty="0" smtClean="0"/>
              <a:t>) &amp; H9 (HDP) – current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5708" y="2004003"/>
            <a:ext cx="5040000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47" name="Rectangle 46"/>
          <p:cNvSpPr/>
          <p:nvPr/>
        </p:nvSpPr>
        <p:spPr bwMode="ltGray">
          <a:xfrm>
            <a:off x="3611642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ltGray">
          <a:xfrm>
            <a:off x="1872511" y="2055275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59" name="Rectangle 58"/>
          <p:cNvSpPr/>
          <p:nvPr/>
        </p:nvSpPr>
        <p:spPr bwMode="ltGray">
          <a:xfrm>
            <a:off x="1872507" y="4090369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 bwMode="ltGray">
          <a:xfrm>
            <a:off x="468078" y="2757160"/>
            <a:ext cx="5040000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3616379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87" name="Rectangle 86"/>
          <p:cNvSpPr/>
          <p:nvPr/>
        </p:nvSpPr>
        <p:spPr bwMode="ltGray">
          <a:xfrm>
            <a:off x="3616383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91" name="Rectangle 90"/>
          <p:cNvSpPr/>
          <p:nvPr/>
        </p:nvSpPr>
        <p:spPr bwMode="ltGray">
          <a:xfrm>
            <a:off x="3616379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Map-R or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5040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9" name="Rectangle 98"/>
          <p:cNvSpPr/>
          <p:nvPr/>
        </p:nvSpPr>
        <p:spPr bwMode="ltGray">
          <a:xfrm>
            <a:off x="1803369" y="1936853"/>
            <a:ext cx="1455149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2" name="TextBox 101"/>
          <p:cNvSpPr txBox="1"/>
          <p:nvPr/>
        </p:nvSpPr>
        <p:spPr>
          <a:xfrm>
            <a:off x="2172647" y="4671890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3923499" y="4672250"/>
            <a:ext cx="720000" cy="29943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9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23" name="Rectangle 22"/>
          <p:cNvSpPr/>
          <p:nvPr/>
        </p:nvSpPr>
        <p:spPr bwMode="ltGray">
          <a:xfrm>
            <a:off x="2582658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2553399" y="169892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3694774" y="1703509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cxnSp>
        <p:nvCxnSpPr>
          <p:cNvPr id="5" name="Straight Connector 4"/>
          <p:cNvCxnSpPr>
            <a:stCxn id="24" idx="2"/>
            <a:endCxn id="49" idx="0"/>
          </p:cNvCxnSpPr>
          <p:nvPr/>
        </p:nvCxnSpPr>
        <p:spPr>
          <a:xfrm flipH="1">
            <a:off x="2538511" y="1874075"/>
            <a:ext cx="286786" cy="1812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25" idx="2"/>
            <a:endCxn id="87" idx="0"/>
          </p:cNvCxnSpPr>
          <p:nvPr/>
        </p:nvCxnSpPr>
        <p:spPr>
          <a:xfrm>
            <a:off x="3966672" y="1878664"/>
            <a:ext cx="315711" cy="17545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 bwMode="ltGray">
          <a:xfrm>
            <a:off x="2987625" y="427291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6" name="Straight Connector 35"/>
          <p:cNvCxnSpPr>
            <a:stCxn id="11" idx="2"/>
            <a:endCxn id="23" idx="0"/>
          </p:cNvCxnSpPr>
          <p:nvPr/>
        </p:nvCxnSpPr>
        <p:spPr>
          <a:xfrm flipH="1">
            <a:off x="3387124" y="1137224"/>
            <a:ext cx="160" cy="24682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52" idx="2"/>
            <a:endCxn id="87" idx="0"/>
          </p:cNvCxnSpPr>
          <p:nvPr/>
        </p:nvCxnSpPr>
        <p:spPr>
          <a:xfrm flipH="1">
            <a:off x="4282383" y="1024772"/>
            <a:ext cx="2068979" cy="1029342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777809" y="2001966"/>
            <a:ext cx="2906730" cy="9167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This </a:t>
            </a:r>
            <a:r>
              <a:rPr lang="en-US" sz="1000" b="1" dirty="0"/>
              <a:t>schedule is based on the current Curiosity </a:t>
            </a:r>
            <a:r>
              <a:rPr lang="en-US" sz="1000" b="1" dirty="0" smtClean="0"/>
              <a:t>PRO </a:t>
            </a:r>
            <a:r>
              <a:rPr lang="en-US" sz="1000" b="1" dirty="0"/>
              <a:t>H9 Domino testing </a:t>
            </a:r>
            <a:r>
              <a:rPr lang="en-US" sz="1000" b="1" dirty="0" smtClean="0"/>
              <a:t>schedule:</a:t>
            </a:r>
            <a:endParaRPr lang="en-IE" sz="1000" b="1" u="sng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25-May to 29-June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err="1" smtClean="0"/>
              <a:t>Ambari</a:t>
            </a:r>
            <a:r>
              <a:rPr lang="en-IE" sz="1000" dirty="0" smtClean="0"/>
              <a:t>, Regression, Performance &amp; HA testing. </a:t>
            </a:r>
            <a:endParaRPr lang="en-IE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30-June to 04-July</a:t>
            </a:r>
            <a:r>
              <a:rPr lang="en-IE" sz="1000" dirty="0" smtClean="0"/>
              <a:t> – RDA Domino functional and fault testing via the PRO H9 LLB.</a:t>
            </a:r>
          </a:p>
          <a:p>
            <a:pPr>
              <a:lnSpc>
                <a:spcPct val="90000"/>
              </a:lnSpc>
            </a:pPr>
            <a:endParaRPr lang="en-IE" sz="1000" dirty="0" smtClean="0"/>
          </a:p>
        </p:txBody>
      </p:sp>
      <p:cxnSp>
        <p:nvCxnSpPr>
          <p:cNvPr id="34" name="Straight Connector 33"/>
          <p:cNvCxnSpPr>
            <a:stCxn id="53" idx="2"/>
            <a:endCxn id="87" idx="0"/>
          </p:cNvCxnSpPr>
          <p:nvPr/>
        </p:nvCxnSpPr>
        <p:spPr>
          <a:xfrm flipH="1">
            <a:off x="4282383" y="1033052"/>
            <a:ext cx="376875" cy="1021062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ltGray">
          <a:xfrm>
            <a:off x="3617888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ltGray">
          <a:xfrm>
            <a:off x="1870140" y="237593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Octagon 41"/>
          <p:cNvSpPr/>
          <p:nvPr/>
        </p:nvSpPr>
        <p:spPr bwMode="ltGray">
          <a:xfrm>
            <a:off x="4733062" y="1039557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1</a:t>
            </a:r>
            <a:endParaRPr lang="en-US" dirty="0" err="1" smtClean="0"/>
          </a:p>
        </p:txBody>
      </p:sp>
      <p:sp>
        <p:nvSpPr>
          <p:cNvPr id="44" name="Octagon 43"/>
          <p:cNvSpPr/>
          <p:nvPr/>
        </p:nvSpPr>
        <p:spPr bwMode="ltGray">
          <a:xfrm>
            <a:off x="6279214" y="1039557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2</a:t>
            </a:r>
            <a:endParaRPr lang="en-US" dirty="0" err="1" smtClean="0"/>
          </a:p>
        </p:txBody>
      </p:sp>
      <p:sp>
        <p:nvSpPr>
          <p:cNvPr id="48" name="TextBox 47"/>
          <p:cNvSpPr txBox="1"/>
          <p:nvPr/>
        </p:nvSpPr>
        <p:spPr>
          <a:xfrm>
            <a:off x="1385574" y="1190642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sp>
        <p:nvSpPr>
          <p:cNvPr id="46" name="Rectangle 45"/>
          <p:cNvSpPr/>
          <p:nvPr/>
        </p:nvSpPr>
        <p:spPr bwMode="ltGray">
          <a:xfrm>
            <a:off x="1872507" y="3224191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50" name="Rectangle 49"/>
          <p:cNvSpPr/>
          <p:nvPr/>
        </p:nvSpPr>
        <p:spPr bwMode="ltGray">
          <a:xfrm>
            <a:off x="1880216" y="2810799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</a:t>
            </a:r>
            <a:r>
              <a:rPr lang="en-US" sz="1000" dirty="0" smtClean="0">
                <a:solidFill>
                  <a:schemeClr val="tx1"/>
                </a:solidFill>
              </a:rPr>
              <a:t>4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1" name="Curved Right Arrow 50"/>
          <p:cNvSpPr/>
          <p:nvPr/>
        </p:nvSpPr>
        <p:spPr bwMode="ltGray">
          <a:xfrm rot="3984644">
            <a:off x="2701583" y="1176384"/>
            <a:ext cx="206413" cy="650776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2" name="Rounded Rectangle 51"/>
          <p:cNvSpPr/>
          <p:nvPr/>
        </p:nvSpPr>
        <p:spPr bwMode="ltGray">
          <a:xfrm>
            <a:off x="5599666" y="518633"/>
            <a:ext cx="1503391" cy="50613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000" dirty="0" smtClean="0">
                <a:solidFill>
                  <a:schemeClr val="tx1"/>
                </a:solidFill>
              </a:rPr>
              <a:t>RDA </a:t>
            </a:r>
            <a:r>
              <a:rPr lang="en-IE" sz="1000" dirty="0">
                <a:solidFill>
                  <a:schemeClr val="tx1"/>
                </a:solidFill>
              </a:rPr>
              <a:t>Domino testing on PRO </a:t>
            </a:r>
            <a:r>
              <a:rPr lang="en-IE" sz="1000" dirty="0" smtClean="0">
                <a:solidFill>
                  <a:schemeClr val="tx1"/>
                </a:solidFill>
              </a:rPr>
              <a:t>H9 </a:t>
            </a:r>
            <a:r>
              <a:rPr lang="en-IE" sz="1000" dirty="0">
                <a:solidFill>
                  <a:schemeClr val="tx1"/>
                </a:solidFill>
              </a:rPr>
              <a:t>Hortonworks</a:t>
            </a:r>
            <a:endParaRPr lang="en-IE" sz="1000" dirty="0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IE" sz="1000" dirty="0" smtClean="0">
                <a:solidFill>
                  <a:schemeClr val="tx1"/>
                </a:solidFill>
              </a:rPr>
              <a:t>(Midway servers x 4)</a:t>
            </a:r>
            <a:endParaRPr lang="en-US" sz="1000" dirty="0" err="1" smtClean="0">
              <a:solidFill>
                <a:schemeClr val="tx1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ltGray">
          <a:xfrm>
            <a:off x="3859886" y="515717"/>
            <a:ext cx="1598744" cy="51733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IE" sz="1000" dirty="0" err="1">
                <a:solidFill>
                  <a:schemeClr val="tx1"/>
                </a:solidFill>
              </a:rPr>
              <a:t>Ambari</a:t>
            </a:r>
            <a:r>
              <a:rPr lang="en-IE" sz="1000" dirty="0">
                <a:solidFill>
                  <a:schemeClr val="tx1"/>
                </a:solidFill>
              </a:rPr>
              <a:t>, Regression, Performance </a:t>
            </a:r>
            <a:r>
              <a:rPr lang="en-IE" sz="1000" dirty="0" smtClean="0">
                <a:solidFill>
                  <a:schemeClr val="tx1"/>
                </a:solidFill>
              </a:rPr>
              <a:t>&amp; </a:t>
            </a:r>
            <a:r>
              <a:rPr lang="en-IE" sz="1000" dirty="0">
                <a:solidFill>
                  <a:schemeClr val="tx1"/>
                </a:solidFill>
              </a:rPr>
              <a:t>HA </a:t>
            </a:r>
            <a:r>
              <a:rPr lang="en-IE" sz="1000" dirty="0" smtClean="0">
                <a:solidFill>
                  <a:schemeClr val="tx1"/>
                </a:solidFill>
              </a:rPr>
              <a:t>testing on PRO H9 Hortonworks. </a:t>
            </a:r>
            <a:endParaRPr lang="en-IE" sz="1000" dirty="0">
              <a:solidFill>
                <a:schemeClr val="tx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39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/>
              <a:t>SA2.0 Curiosity </a:t>
            </a:r>
            <a:r>
              <a:rPr lang="en-US" sz="2000" dirty="0" smtClean="0"/>
              <a:t>PRO </a:t>
            </a:r>
            <a:r>
              <a:rPr lang="en-US" sz="2000" dirty="0"/>
              <a:t>H4 (</a:t>
            </a:r>
            <a:r>
              <a:rPr lang="en-US" sz="2000" dirty="0" err="1"/>
              <a:t>MapR</a:t>
            </a:r>
            <a:r>
              <a:rPr lang="en-US" sz="2000" dirty="0"/>
              <a:t>) </a:t>
            </a:r>
            <a:r>
              <a:rPr lang="en-US" sz="2000" dirty="0" smtClean="0"/>
              <a:t>– </a:t>
            </a:r>
            <a:r>
              <a:rPr lang="en-US" sz="1800" dirty="0" smtClean="0"/>
              <a:t>move HPSD Storage to Temp H4 LLB</a:t>
            </a:r>
            <a:endParaRPr lang="en-US" sz="18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7191" y="2004003"/>
            <a:ext cx="8207726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79" name="Rectangle 78"/>
          <p:cNvSpPr/>
          <p:nvPr/>
        </p:nvSpPr>
        <p:spPr bwMode="ltGray">
          <a:xfrm>
            <a:off x="466917" y="2757160"/>
            <a:ext cx="8207977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Hadoop -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8208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35" name="Rounded Rectangle 34"/>
          <p:cNvSpPr/>
          <p:nvPr/>
        </p:nvSpPr>
        <p:spPr bwMode="ltGray">
          <a:xfrm>
            <a:off x="5482624" y="584468"/>
            <a:ext cx="1503391" cy="50613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000" dirty="0" smtClean="0">
                <a:solidFill>
                  <a:schemeClr val="tx1"/>
                </a:solidFill>
              </a:rPr>
              <a:t>RDA </a:t>
            </a:r>
            <a:r>
              <a:rPr lang="en-IE" sz="1000" dirty="0">
                <a:solidFill>
                  <a:schemeClr val="tx1"/>
                </a:solidFill>
              </a:rPr>
              <a:t>Domino testing on PRO H4 Hortonworks</a:t>
            </a:r>
            <a:endParaRPr lang="en-IE" sz="1000" dirty="0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IE" sz="1000" dirty="0" smtClean="0">
                <a:solidFill>
                  <a:schemeClr val="tx1"/>
                </a:solidFill>
              </a:rPr>
              <a:t>(Midway servers x 4)</a:t>
            </a:r>
            <a:endParaRPr lang="en-US" sz="1000" dirty="0" err="1" smtClean="0">
              <a:solidFill>
                <a:schemeClr val="tx1"/>
              </a:solidFill>
            </a:endParaRPr>
          </a:p>
        </p:txBody>
      </p:sp>
      <p:cxnSp>
        <p:nvCxnSpPr>
          <p:cNvPr id="40" name="Straight Connector 39"/>
          <p:cNvCxnSpPr>
            <a:stCxn id="35" idx="2"/>
            <a:endCxn id="30" idx="0"/>
          </p:cNvCxnSpPr>
          <p:nvPr/>
        </p:nvCxnSpPr>
        <p:spPr>
          <a:xfrm flipH="1">
            <a:off x="5442699" y="1090607"/>
            <a:ext cx="791621" cy="293437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 bwMode="ltGray">
          <a:xfrm>
            <a:off x="3742844" y="581552"/>
            <a:ext cx="1598744" cy="51733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IE" sz="1000" dirty="0" err="1">
                <a:solidFill>
                  <a:schemeClr val="tx1"/>
                </a:solidFill>
              </a:rPr>
              <a:t>Ambari</a:t>
            </a:r>
            <a:r>
              <a:rPr lang="en-IE" sz="1000" dirty="0">
                <a:solidFill>
                  <a:schemeClr val="tx1"/>
                </a:solidFill>
              </a:rPr>
              <a:t>, Regression, Performance </a:t>
            </a:r>
            <a:r>
              <a:rPr lang="en-IE" sz="1000" dirty="0" smtClean="0">
                <a:solidFill>
                  <a:schemeClr val="tx1"/>
                </a:solidFill>
              </a:rPr>
              <a:t>&amp; </a:t>
            </a:r>
            <a:r>
              <a:rPr lang="en-IE" sz="1000" dirty="0">
                <a:solidFill>
                  <a:schemeClr val="tx1"/>
                </a:solidFill>
              </a:rPr>
              <a:t>HA </a:t>
            </a:r>
            <a:r>
              <a:rPr lang="en-IE" sz="1000" dirty="0" smtClean="0">
                <a:solidFill>
                  <a:schemeClr val="tx1"/>
                </a:solidFill>
              </a:rPr>
              <a:t>testing on PRO H4 Hortonworks. </a:t>
            </a:r>
            <a:endParaRPr lang="en-IE" sz="1000" dirty="0">
              <a:solidFill>
                <a:schemeClr val="tx1"/>
              </a:solidFill>
            </a:endParaRPr>
          </a:p>
        </p:txBody>
      </p:sp>
      <p:cxnSp>
        <p:nvCxnSpPr>
          <p:cNvPr id="34" name="Straight Connector 33"/>
          <p:cNvCxnSpPr>
            <a:stCxn id="33" idx="2"/>
            <a:endCxn id="30" idx="0"/>
          </p:cNvCxnSpPr>
          <p:nvPr/>
        </p:nvCxnSpPr>
        <p:spPr>
          <a:xfrm>
            <a:off x="4542216" y="1098887"/>
            <a:ext cx="900483" cy="285157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 bwMode="ltGray">
          <a:xfrm>
            <a:off x="3634638" y="409611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ltGray">
          <a:xfrm>
            <a:off x="3639375" y="324231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2" name="Rectangle 51"/>
          <p:cNvSpPr/>
          <p:nvPr/>
        </p:nvSpPr>
        <p:spPr bwMode="ltGray">
          <a:xfrm>
            <a:off x="1872507" y="2048867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Temp H4 LLB</a:t>
            </a:r>
          </a:p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rgbClr val="C00000"/>
                </a:solidFill>
              </a:rPr>
              <a:t>storage-pro-h4.itcs.hpe.com</a:t>
            </a:r>
            <a:endParaRPr lang="en-US" sz="700" dirty="0">
              <a:solidFill>
                <a:srgbClr val="C00000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ltGray">
          <a:xfrm>
            <a:off x="3639375" y="281813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6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1874012" y="2377256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C00000"/>
                </a:solidFill>
              </a:rPr>
              <a:t>[c4t22704/05/06]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963766" y="4677071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 bwMode="ltGray">
          <a:xfrm>
            <a:off x="3634638" y="2047737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1872507" y="4090369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ltGray">
          <a:xfrm>
            <a:off x="1872507" y="3224191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29" name="Rectangle 28"/>
          <p:cNvSpPr/>
          <p:nvPr/>
        </p:nvSpPr>
        <p:spPr bwMode="ltGray">
          <a:xfrm>
            <a:off x="1803369" y="1936853"/>
            <a:ext cx="1455149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30" name="Rectangle 29"/>
          <p:cNvSpPr/>
          <p:nvPr/>
        </p:nvSpPr>
        <p:spPr bwMode="ltGray">
          <a:xfrm>
            <a:off x="4638233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4553640" y="171334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>
            <a:off x="5797138" y="1706715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 bwMode="ltGray">
          <a:xfrm>
            <a:off x="2139059" y="427291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Straight Connector 36"/>
          <p:cNvCxnSpPr>
            <a:stCxn id="36" idx="2"/>
            <a:endCxn id="52" idx="0"/>
          </p:cNvCxnSpPr>
          <p:nvPr/>
        </p:nvCxnSpPr>
        <p:spPr>
          <a:xfrm flipH="1">
            <a:off x="2538507" y="1137224"/>
            <a:ext cx="211" cy="9116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ltGray">
          <a:xfrm>
            <a:off x="3632267" y="2368395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53947" y="1181632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47" name="Straight Connector 46"/>
          <p:cNvCxnSpPr>
            <a:stCxn id="31" idx="2"/>
            <a:endCxn id="25" idx="0"/>
          </p:cNvCxnSpPr>
          <p:nvPr/>
        </p:nvCxnSpPr>
        <p:spPr>
          <a:xfrm flipH="1">
            <a:off x="4300638" y="1888495"/>
            <a:ext cx="524900" cy="1592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2172647" y="4671890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54" name="Rectangle 53"/>
          <p:cNvSpPr/>
          <p:nvPr/>
        </p:nvSpPr>
        <p:spPr bwMode="ltGray">
          <a:xfrm>
            <a:off x="1880216" y="2810799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</a:t>
            </a:r>
            <a:r>
              <a:rPr lang="en-US" sz="1000" dirty="0" smtClean="0">
                <a:solidFill>
                  <a:schemeClr val="tx1"/>
                </a:solidFill>
              </a:rPr>
              <a:t>4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5886668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ltGray">
          <a:xfrm>
            <a:off x="5891405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9" name="Rectangle 58"/>
          <p:cNvSpPr/>
          <p:nvPr/>
        </p:nvSpPr>
        <p:spPr bwMode="ltGray">
          <a:xfrm>
            <a:off x="5891409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5891405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5822268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62" name="TextBox 61"/>
          <p:cNvSpPr txBox="1"/>
          <p:nvPr/>
        </p:nvSpPr>
        <p:spPr>
          <a:xfrm>
            <a:off x="6198525" y="4672250"/>
            <a:ext cx="720000" cy="29943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9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 bwMode="ltGray">
          <a:xfrm>
            <a:off x="5892914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>
            <a:stCxn id="32" idx="2"/>
            <a:endCxn id="59" idx="0"/>
          </p:cNvCxnSpPr>
          <p:nvPr/>
        </p:nvCxnSpPr>
        <p:spPr>
          <a:xfrm>
            <a:off x="6069036" y="1881870"/>
            <a:ext cx="488373" cy="172244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urved Right Arrow 64"/>
          <p:cNvSpPr/>
          <p:nvPr/>
        </p:nvSpPr>
        <p:spPr bwMode="ltGray">
          <a:xfrm rot="3984644">
            <a:off x="4751506" y="1190428"/>
            <a:ext cx="206413" cy="650776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9" name="Slide Number Placeholder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06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 smtClean="0"/>
              <a:t>Steps to Reconfigure from PRO GSLB to Temp PRO H4 LLB</a:t>
            </a:r>
            <a:endParaRPr lang="en-US" sz="2000" dirty="0"/>
          </a:p>
        </p:txBody>
      </p:sp>
      <p:sp>
        <p:nvSpPr>
          <p:cNvPr id="44" name="Rectangle 43"/>
          <p:cNvSpPr/>
          <p:nvPr/>
        </p:nvSpPr>
        <p:spPr bwMode="ltGray">
          <a:xfrm>
            <a:off x="947709" y="3239252"/>
            <a:ext cx="383150" cy="354378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#1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 bwMode="ltGray">
          <a:xfrm>
            <a:off x="1374787" y="3239252"/>
            <a:ext cx="383150" cy="354378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#2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/>
          <p:nvPr/>
        </p:nvSpPr>
        <p:spPr bwMode="ltGray">
          <a:xfrm>
            <a:off x="1801866" y="3239252"/>
            <a:ext cx="383150" cy="354378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#3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 bwMode="ltGray">
          <a:xfrm>
            <a:off x="2228945" y="3239252"/>
            <a:ext cx="383150" cy="354378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#4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ltGray">
          <a:xfrm>
            <a:off x="3968916" y="2084315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Temp H4 LLB</a:t>
            </a:r>
          </a:p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rgbClr val="C00000"/>
                </a:solidFill>
              </a:rPr>
              <a:t>storage-pro-h4.itcs.hpe.com</a:t>
            </a:r>
            <a:endParaRPr lang="en-US" sz="700" dirty="0">
              <a:solidFill>
                <a:srgbClr val="C00000"/>
              </a:solidFill>
            </a:endParaRPr>
          </a:p>
        </p:txBody>
      </p:sp>
      <p:sp>
        <p:nvSpPr>
          <p:cNvPr id="81" name="Rectangle 80"/>
          <p:cNvSpPr/>
          <p:nvPr/>
        </p:nvSpPr>
        <p:spPr bwMode="ltGray">
          <a:xfrm>
            <a:off x="3970421" y="2412704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C00000"/>
                </a:solidFill>
              </a:rPr>
              <a:t>[c4t22704/05/06]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82" name="Rectangle 81"/>
          <p:cNvSpPr/>
          <p:nvPr/>
        </p:nvSpPr>
        <p:spPr bwMode="ltGray">
          <a:xfrm>
            <a:off x="1199254" y="2083960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83" name="Rectangle 82"/>
          <p:cNvSpPr/>
          <p:nvPr/>
        </p:nvSpPr>
        <p:spPr bwMode="ltGray">
          <a:xfrm>
            <a:off x="1196883" y="2404618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tangle 83"/>
          <p:cNvSpPr/>
          <p:nvPr/>
        </p:nvSpPr>
        <p:spPr bwMode="ltGray">
          <a:xfrm>
            <a:off x="2014572" y="1395343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85" name="TextBox 84"/>
          <p:cNvSpPr txBox="1"/>
          <p:nvPr/>
        </p:nvSpPr>
        <p:spPr>
          <a:xfrm>
            <a:off x="1929979" y="1724639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cxnSp>
        <p:nvCxnSpPr>
          <p:cNvPr id="86" name="Straight Connector 85"/>
          <p:cNvCxnSpPr>
            <a:stCxn id="85" idx="2"/>
            <a:endCxn id="82" idx="0"/>
          </p:cNvCxnSpPr>
          <p:nvPr/>
        </p:nvCxnSpPr>
        <p:spPr>
          <a:xfrm flipH="1">
            <a:off x="1865254" y="1899794"/>
            <a:ext cx="336623" cy="18416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67" idx="0"/>
            <a:endCxn id="83" idx="2"/>
          </p:cNvCxnSpPr>
          <p:nvPr/>
        </p:nvCxnSpPr>
        <p:spPr>
          <a:xfrm flipH="1" flipV="1">
            <a:off x="1862883" y="2710862"/>
            <a:ext cx="557637" cy="5283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66" idx="0"/>
            <a:endCxn id="83" idx="2"/>
          </p:cNvCxnSpPr>
          <p:nvPr/>
        </p:nvCxnSpPr>
        <p:spPr>
          <a:xfrm flipH="1" flipV="1">
            <a:off x="1862883" y="2710862"/>
            <a:ext cx="130558" cy="5283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48" idx="0"/>
            <a:endCxn id="83" idx="2"/>
          </p:cNvCxnSpPr>
          <p:nvPr/>
        </p:nvCxnSpPr>
        <p:spPr>
          <a:xfrm flipV="1">
            <a:off x="1566362" y="2710862"/>
            <a:ext cx="296521" cy="5283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stCxn id="44" idx="0"/>
            <a:endCxn id="83" idx="2"/>
          </p:cNvCxnSpPr>
          <p:nvPr/>
        </p:nvCxnSpPr>
        <p:spPr>
          <a:xfrm flipV="1">
            <a:off x="1139284" y="2710862"/>
            <a:ext cx="723599" cy="5283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ounded Rectangle 90"/>
          <p:cNvSpPr/>
          <p:nvPr/>
        </p:nvSpPr>
        <p:spPr bwMode="ltGray">
          <a:xfrm>
            <a:off x="2417264" y="436349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93" name="Straight Connector 92"/>
          <p:cNvCxnSpPr>
            <a:stCxn id="91" idx="2"/>
            <a:endCxn id="84" idx="0"/>
          </p:cNvCxnSpPr>
          <p:nvPr/>
        </p:nvCxnSpPr>
        <p:spPr>
          <a:xfrm>
            <a:off x="2816923" y="1146282"/>
            <a:ext cx="2115" cy="24906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836512" y="1191596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97" name="Straight Connector 96"/>
          <p:cNvCxnSpPr>
            <a:stCxn id="67" idx="0"/>
            <a:endCxn id="81" idx="2"/>
          </p:cNvCxnSpPr>
          <p:nvPr/>
        </p:nvCxnSpPr>
        <p:spPr>
          <a:xfrm flipV="1">
            <a:off x="2420520" y="2718948"/>
            <a:ext cx="2215901" cy="52030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stCxn id="66" idx="0"/>
            <a:endCxn id="81" idx="2"/>
          </p:cNvCxnSpPr>
          <p:nvPr/>
        </p:nvCxnSpPr>
        <p:spPr>
          <a:xfrm flipV="1">
            <a:off x="1993441" y="2718948"/>
            <a:ext cx="2642980" cy="52030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48" idx="0"/>
            <a:endCxn id="81" idx="2"/>
          </p:cNvCxnSpPr>
          <p:nvPr/>
        </p:nvCxnSpPr>
        <p:spPr>
          <a:xfrm flipV="1">
            <a:off x="1566362" y="2718948"/>
            <a:ext cx="3070059" cy="52030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44" idx="0"/>
            <a:endCxn id="81" idx="2"/>
          </p:cNvCxnSpPr>
          <p:nvPr/>
        </p:nvCxnSpPr>
        <p:spPr>
          <a:xfrm flipV="1">
            <a:off x="1139284" y="2718948"/>
            <a:ext cx="3497137" cy="520304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>
            <a:stCxn id="91" idx="3"/>
            <a:endCxn id="80" idx="0"/>
          </p:cNvCxnSpPr>
          <p:nvPr/>
        </p:nvCxnSpPr>
        <p:spPr>
          <a:xfrm>
            <a:off x="3216582" y="791316"/>
            <a:ext cx="1418334" cy="1292999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/>
        </p:nvSpPr>
        <p:spPr bwMode="ltGray">
          <a:xfrm>
            <a:off x="1139178" y="4389140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7" name="Rectangle 106"/>
          <p:cNvSpPr/>
          <p:nvPr/>
        </p:nvSpPr>
        <p:spPr bwMode="ltGray">
          <a:xfrm>
            <a:off x="1139178" y="3640654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108" name="TextBox 107"/>
          <p:cNvSpPr txBox="1"/>
          <p:nvPr/>
        </p:nvSpPr>
        <p:spPr>
          <a:xfrm>
            <a:off x="5777809" y="417620"/>
            <a:ext cx="2906730" cy="33124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Steps to change storage to Temp PRO H4 LLB</a:t>
            </a:r>
            <a:r>
              <a:rPr lang="en-US" sz="1000" b="1" dirty="0" smtClean="0"/>
              <a:t>:</a:t>
            </a:r>
            <a:endParaRPr lang="en-IE" sz="1000" b="1" u="sng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/>
              <a:t>T</a:t>
            </a:r>
            <a:r>
              <a:rPr lang="en-IE" sz="1000" b="1" u="sng" dirty="0" smtClean="0"/>
              <a:t>SS R&amp;D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smtClean="0"/>
              <a:t>Configure </a:t>
            </a:r>
            <a:r>
              <a:rPr lang="en-US" sz="1000" dirty="0" smtClean="0"/>
              <a:t>health.html </a:t>
            </a:r>
            <a:r>
              <a:rPr lang="en-US" sz="1000" dirty="0"/>
              <a:t>URL </a:t>
            </a:r>
            <a:r>
              <a:rPr lang="en-US" sz="1000" dirty="0" smtClean="0"/>
              <a:t>on the three new Apache servers and manually add SSL Certs</a:t>
            </a:r>
            <a:r>
              <a:rPr lang="en-IE" sz="1000" dirty="0" smtClean="0"/>
              <a:t>.</a:t>
            </a:r>
          </a:p>
          <a:p>
            <a:pPr marL="685800" lvl="1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1000" b="1" dirty="0" smtClean="0"/>
              <a:t>Date: </a:t>
            </a:r>
            <a:r>
              <a:rPr lang="en-IE" sz="1000" dirty="0" smtClean="0"/>
              <a:t>???</a:t>
            </a:r>
          </a:p>
          <a:p>
            <a:pPr marL="685800" lvl="1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TSS R&amp;D</a:t>
            </a:r>
            <a:r>
              <a:rPr lang="en-IE" sz="1000" dirty="0" smtClean="0"/>
              <a:t> </a:t>
            </a:r>
            <a:r>
              <a:rPr lang="en-IE" sz="1000" dirty="0" smtClean="0"/>
              <a:t>– </a:t>
            </a:r>
            <a:r>
              <a:rPr lang="en-IE" sz="1000" dirty="0" smtClean="0"/>
              <a:t>Connect </a:t>
            </a:r>
            <a:r>
              <a:rPr lang="en-US" sz="1000" dirty="0"/>
              <a:t>on the three new Apache servers </a:t>
            </a:r>
            <a:r>
              <a:rPr lang="en-US" sz="1000" dirty="0" smtClean="0"/>
              <a:t>to the four </a:t>
            </a:r>
            <a:r>
              <a:rPr lang="en-US" sz="1000" dirty="0" err="1" smtClean="0"/>
              <a:t>MapR</a:t>
            </a:r>
            <a:r>
              <a:rPr lang="en-US" sz="1000" dirty="0" smtClean="0"/>
              <a:t> REST servers</a:t>
            </a:r>
            <a:r>
              <a:rPr lang="en-IE" sz="1000" dirty="0" smtClean="0"/>
              <a:t>.</a:t>
            </a:r>
            <a:endParaRPr lang="en-IE" sz="1000" dirty="0"/>
          </a:p>
          <a:p>
            <a:pPr marL="685800" lvl="1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1000" b="1" dirty="0"/>
              <a:t>Date: </a:t>
            </a:r>
            <a:r>
              <a:rPr lang="en-IE" sz="1000" dirty="0"/>
              <a:t>???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/>
              <a:t>TSS R&amp;D</a:t>
            </a:r>
            <a:r>
              <a:rPr lang="en-IE" sz="1000" dirty="0"/>
              <a:t> – </a:t>
            </a:r>
            <a:r>
              <a:rPr lang="en-IE" sz="1000" dirty="0" smtClean="0"/>
              <a:t>Verify that PRO H4 </a:t>
            </a:r>
            <a:r>
              <a:rPr lang="en-IE" sz="1000" dirty="0" err="1" smtClean="0"/>
              <a:t>MapR</a:t>
            </a:r>
            <a:r>
              <a:rPr lang="en-IE" sz="1000" dirty="0" smtClean="0"/>
              <a:t> is fully operational via the Temp PRO H4 LLB.</a:t>
            </a:r>
            <a:endParaRPr lang="en-IE" sz="1000" dirty="0"/>
          </a:p>
          <a:p>
            <a:pPr marL="685800" lvl="1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1000" b="1" dirty="0"/>
              <a:t>Date: </a:t>
            </a:r>
            <a:r>
              <a:rPr lang="en-IE" sz="1000" dirty="0"/>
              <a:t>???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HPSD Storage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smtClean="0"/>
              <a:t>Reconfigure Storage to connect to PRO H4 </a:t>
            </a:r>
            <a:r>
              <a:rPr lang="en-IE" sz="1000" dirty="0" err="1" smtClean="0"/>
              <a:t>MapR</a:t>
            </a:r>
            <a:r>
              <a:rPr lang="en-IE" sz="1000" dirty="0" smtClean="0"/>
              <a:t> </a:t>
            </a:r>
            <a:r>
              <a:rPr lang="en-IE" sz="1000" dirty="0"/>
              <a:t>via the Temp PRO H4 </a:t>
            </a:r>
            <a:r>
              <a:rPr lang="en-IE" sz="1000" dirty="0" smtClean="0"/>
              <a:t>LLB.</a:t>
            </a:r>
            <a:endParaRPr lang="en-IE" sz="1000" dirty="0"/>
          </a:p>
          <a:p>
            <a:pPr marL="685800" lvl="1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1000" b="1" dirty="0"/>
              <a:t>Date: </a:t>
            </a:r>
            <a:r>
              <a:rPr lang="en-IE" sz="1000" dirty="0"/>
              <a:t>???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HPSD Storage</a:t>
            </a:r>
            <a:r>
              <a:rPr lang="en-IE" sz="1000" dirty="0" smtClean="0"/>
              <a:t> – Continue testing on PRO H4 </a:t>
            </a:r>
            <a:r>
              <a:rPr lang="en-IE" sz="1000" dirty="0" err="1" smtClean="0"/>
              <a:t>MapR</a:t>
            </a:r>
            <a:r>
              <a:rPr lang="en-IE" sz="1000" dirty="0"/>
              <a:t> via the Temp PRO H4 LLB</a:t>
            </a:r>
            <a:r>
              <a:rPr lang="en-IE" sz="1000" dirty="0" smtClean="0"/>
              <a:t>.</a:t>
            </a:r>
            <a:endParaRPr lang="en-IE" sz="1000" dirty="0"/>
          </a:p>
          <a:p>
            <a:pPr marL="685800" lvl="1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1000" b="1" dirty="0"/>
              <a:t>Date: </a:t>
            </a:r>
            <a:r>
              <a:rPr lang="en-IE" sz="1000" dirty="0"/>
              <a:t>???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en-IE" sz="1000" dirty="0" smtClean="0"/>
          </a:p>
        </p:txBody>
      </p:sp>
      <p:cxnSp>
        <p:nvCxnSpPr>
          <p:cNvPr id="109" name="Straight Connector 108"/>
          <p:cNvCxnSpPr/>
          <p:nvPr/>
        </p:nvCxnSpPr>
        <p:spPr>
          <a:xfrm>
            <a:off x="2729709" y="1093775"/>
            <a:ext cx="180000" cy="18000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H="1">
            <a:off x="2722095" y="1095121"/>
            <a:ext cx="182880" cy="18000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ounded Rectangle 111"/>
          <p:cNvSpPr/>
          <p:nvPr/>
        </p:nvSpPr>
        <p:spPr bwMode="ltGray">
          <a:xfrm>
            <a:off x="3968916" y="433255"/>
            <a:ext cx="1617269" cy="60685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000" b="1" u="sng" dirty="0" smtClean="0">
                <a:solidFill>
                  <a:schemeClr val="tx1"/>
                </a:solidFill>
              </a:rPr>
              <a:t>TSS R&amp;D</a:t>
            </a:r>
          </a:p>
          <a:p>
            <a:pPr>
              <a:lnSpc>
                <a:spcPct val="90000"/>
              </a:lnSpc>
            </a:pPr>
            <a:r>
              <a:rPr lang="en-IE" sz="1000" dirty="0">
                <a:solidFill>
                  <a:schemeClr val="tx1"/>
                </a:solidFill>
              </a:rPr>
              <a:t>Verify that PRO H4 </a:t>
            </a:r>
            <a:r>
              <a:rPr lang="en-IE" sz="1000" dirty="0" err="1">
                <a:solidFill>
                  <a:schemeClr val="tx1"/>
                </a:solidFill>
              </a:rPr>
              <a:t>MapR</a:t>
            </a:r>
            <a:r>
              <a:rPr lang="en-IE" sz="1000" dirty="0">
                <a:solidFill>
                  <a:schemeClr val="tx1"/>
                </a:solidFill>
              </a:rPr>
              <a:t> is fully </a:t>
            </a:r>
            <a:r>
              <a:rPr lang="en-IE" sz="1000" dirty="0" smtClean="0">
                <a:solidFill>
                  <a:schemeClr val="tx1"/>
                </a:solidFill>
              </a:rPr>
              <a:t>operational</a:t>
            </a:r>
            <a:r>
              <a:rPr lang="en-IE" sz="1000" dirty="0">
                <a:solidFill>
                  <a:schemeClr val="tx1"/>
                </a:solidFill>
              </a:rPr>
              <a:t> via the Temp PRO H4 LLB</a:t>
            </a:r>
            <a:endParaRPr lang="en-IE" sz="1000" dirty="0">
              <a:solidFill>
                <a:schemeClr val="tx1"/>
              </a:solidFill>
            </a:endParaRPr>
          </a:p>
        </p:txBody>
      </p:sp>
      <p:cxnSp>
        <p:nvCxnSpPr>
          <p:cNvPr id="113" name="Straight Connector 112"/>
          <p:cNvCxnSpPr>
            <a:stCxn id="112" idx="2"/>
            <a:endCxn id="80" idx="0"/>
          </p:cNvCxnSpPr>
          <p:nvPr/>
        </p:nvCxnSpPr>
        <p:spPr>
          <a:xfrm flipH="1">
            <a:off x="4634916" y="1040114"/>
            <a:ext cx="142635" cy="104420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Octagon 115"/>
          <p:cNvSpPr/>
          <p:nvPr/>
        </p:nvSpPr>
        <p:spPr bwMode="ltGray">
          <a:xfrm>
            <a:off x="4798114" y="1060857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3</a:t>
            </a:r>
            <a:endParaRPr lang="en-US" dirty="0" err="1" smtClean="0"/>
          </a:p>
        </p:txBody>
      </p:sp>
      <p:sp>
        <p:nvSpPr>
          <p:cNvPr id="117" name="Octagon 116"/>
          <p:cNvSpPr/>
          <p:nvPr/>
        </p:nvSpPr>
        <p:spPr bwMode="ltGray">
          <a:xfrm>
            <a:off x="3037762" y="914057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4</a:t>
            </a:r>
            <a:endParaRPr lang="en-US" dirty="0" err="1" smtClean="0"/>
          </a:p>
        </p:txBody>
      </p:sp>
      <p:sp>
        <p:nvSpPr>
          <p:cNvPr id="118" name="TextBox 117"/>
          <p:cNvSpPr txBox="1"/>
          <p:nvPr/>
        </p:nvSpPr>
        <p:spPr>
          <a:xfrm>
            <a:off x="1428655" y="4640427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125" name="Slide Number Placeholder 1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126" name="Table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722098"/>
              </p:ext>
            </p:extLst>
          </p:nvPr>
        </p:nvGraphicFramePr>
        <p:xfrm>
          <a:off x="3216581" y="3986841"/>
          <a:ext cx="5619600" cy="91421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61960"/>
                <a:gridCol w="561960"/>
                <a:gridCol w="561960"/>
                <a:gridCol w="561960"/>
                <a:gridCol w="561960"/>
                <a:gridCol w="561960"/>
                <a:gridCol w="561960"/>
                <a:gridCol w="561960"/>
                <a:gridCol w="1123920"/>
              </a:tblGrid>
              <a:tr h="228553">
                <a:tc gridSpan="9">
                  <a:txBody>
                    <a:bodyPr/>
                    <a:lstStyle/>
                    <a:p>
                      <a:pPr algn="ctr"/>
                      <a:r>
                        <a:rPr lang="en-IE" sz="1000" dirty="0" smtClean="0">
                          <a:solidFill>
                            <a:schemeClr val="tx1"/>
                          </a:solidFill>
                        </a:rPr>
                        <a:t>Possible timeline to configure, test and switch HPSD Storage (</a:t>
                      </a:r>
                      <a:r>
                        <a:rPr lang="en-IE" sz="1000" dirty="0" err="1" smtClean="0">
                          <a:solidFill>
                            <a:schemeClr val="tx1"/>
                          </a:solidFill>
                        </a:rPr>
                        <a:t>MapR</a:t>
                      </a:r>
                      <a:r>
                        <a:rPr lang="en-IE" sz="1000" dirty="0" smtClean="0">
                          <a:solidFill>
                            <a:schemeClr val="tx1"/>
                          </a:solidFill>
                        </a:rPr>
                        <a:t>) to Temp H4 LLB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</a:tr>
              <a:tr h="228553">
                <a:tc gridSpan="2"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Step 1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gridSpan="2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00" b="1" dirty="0" smtClean="0"/>
                        <a:t>Step 2</a:t>
                      </a:r>
                      <a:endParaRPr lang="en-US" sz="1000" b="1" dirty="0" smtClean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gridSpan="2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00" b="1" dirty="0" smtClean="0"/>
                        <a:t>Step 3</a:t>
                      </a:r>
                      <a:endParaRPr lang="en-US" sz="1000" b="1" dirty="0" smtClean="0"/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36000" marR="36000" marT="36000" marB="36000"/>
                </a:tc>
                <a:tc gridSpan="2"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00" b="1" dirty="0" smtClean="0">
                          <a:solidFill>
                            <a:srgbClr val="FF0000"/>
                          </a:solidFill>
                        </a:rPr>
                        <a:t>Step 4</a:t>
                      </a:r>
                      <a:endParaRPr lang="en-US" sz="1000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E" sz="1000" b="1" dirty="0" smtClean="0"/>
                        <a:t>Step 5</a:t>
                      </a:r>
                      <a:endParaRPr lang="en-US" sz="1000" b="1" dirty="0" smtClean="0"/>
                    </a:p>
                  </a:txBody>
                  <a:tcPr marL="36000" marR="36000" marT="36000" marB="36000"/>
                </a:tc>
              </a:tr>
              <a:tr h="228553"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Start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End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Start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End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Start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End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>
                          <a:solidFill>
                            <a:srgbClr val="FF0000"/>
                          </a:solidFill>
                        </a:rPr>
                        <a:t>Start</a:t>
                      </a:r>
                      <a:endParaRPr 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>
                          <a:solidFill>
                            <a:srgbClr val="FF0000"/>
                          </a:solidFill>
                        </a:rPr>
                        <a:t>End</a:t>
                      </a:r>
                      <a:endParaRPr 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Start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</a:tr>
              <a:tr h="228553"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02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07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07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08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08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10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>
                          <a:solidFill>
                            <a:srgbClr val="FF0000"/>
                          </a:solidFill>
                        </a:rPr>
                        <a:t>13-Jun</a:t>
                      </a:r>
                      <a:endParaRPr 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>
                          <a:solidFill>
                            <a:srgbClr val="FF0000"/>
                          </a:solidFill>
                        </a:rPr>
                        <a:t>20-Jun</a:t>
                      </a:r>
                      <a:endParaRPr lang="en-US" sz="10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E" sz="1000" b="1" dirty="0" smtClean="0"/>
                        <a:t>20-Jun</a:t>
                      </a:r>
                      <a:endParaRPr lang="en-US" sz="1000" b="1" dirty="0"/>
                    </a:p>
                  </a:txBody>
                  <a:tcPr marL="36000" marR="36000" marT="36000" marB="360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439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/>
              <a:t>SA2.0 Curiosity (Domino) </a:t>
            </a:r>
            <a:r>
              <a:rPr lang="en-US" sz="2000" dirty="0" smtClean="0"/>
              <a:t>PRO H9 </a:t>
            </a:r>
            <a:r>
              <a:rPr lang="en-US" sz="2000" dirty="0"/>
              <a:t>(HDP</a:t>
            </a:r>
            <a:r>
              <a:rPr lang="en-US" sz="2000" dirty="0" smtClean="0"/>
              <a:t>)  - switch Active to H9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5708" y="2004003"/>
            <a:ext cx="8208000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79" name="Rectangle 78"/>
          <p:cNvSpPr/>
          <p:nvPr/>
        </p:nvSpPr>
        <p:spPr bwMode="ltGray">
          <a:xfrm>
            <a:off x="468078" y="2757160"/>
            <a:ext cx="8208000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Hadoop -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8208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50" name="Rectangle 49"/>
          <p:cNvSpPr/>
          <p:nvPr/>
        </p:nvSpPr>
        <p:spPr bwMode="ltGray">
          <a:xfrm>
            <a:off x="3634638" y="409611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ltGray">
          <a:xfrm>
            <a:off x="3639375" y="324231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2" name="Rectangle 51"/>
          <p:cNvSpPr/>
          <p:nvPr/>
        </p:nvSpPr>
        <p:spPr bwMode="ltGray">
          <a:xfrm>
            <a:off x="1872507" y="2048867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Temp H4 LLB</a:t>
            </a:r>
          </a:p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rgbClr val="C00000"/>
                </a:solidFill>
              </a:rPr>
              <a:t>storage-pro-h4.itcs.hpe.com</a:t>
            </a:r>
            <a:endParaRPr lang="en-US" sz="700" dirty="0">
              <a:solidFill>
                <a:srgbClr val="C00000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ltGray">
          <a:xfrm>
            <a:off x="3639375" y="281813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6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1874012" y="2377256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C00000"/>
                </a:solidFill>
              </a:rPr>
              <a:t>[c4t22704/05/06]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963766" y="4677071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 bwMode="ltGray">
          <a:xfrm>
            <a:off x="3634638" y="2047737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1872507" y="4090369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ltGray">
          <a:xfrm>
            <a:off x="1872507" y="3224191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29" name="Rectangle 28"/>
          <p:cNvSpPr/>
          <p:nvPr/>
        </p:nvSpPr>
        <p:spPr bwMode="ltGray">
          <a:xfrm>
            <a:off x="1803369" y="1936853"/>
            <a:ext cx="1455149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30" name="Rectangle 29"/>
          <p:cNvSpPr/>
          <p:nvPr/>
        </p:nvSpPr>
        <p:spPr bwMode="ltGray">
          <a:xfrm>
            <a:off x="4638233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5789912" y="171334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>
            <a:off x="4516978" y="1706715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 bwMode="ltGray">
          <a:xfrm>
            <a:off x="2139059" y="427291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Straight Connector 36"/>
          <p:cNvCxnSpPr>
            <a:stCxn id="36" idx="2"/>
            <a:endCxn id="52" idx="0"/>
          </p:cNvCxnSpPr>
          <p:nvPr/>
        </p:nvCxnSpPr>
        <p:spPr>
          <a:xfrm flipH="1">
            <a:off x="2538507" y="1137224"/>
            <a:ext cx="211" cy="9116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ltGray">
          <a:xfrm>
            <a:off x="3632267" y="2368395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53947" y="1226897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47" name="Straight Connector 46"/>
          <p:cNvCxnSpPr>
            <a:stCxn id="31" idx="2"/>
            <a:endCxn id="59" idx="0"/>
          </p:cNvCxnSpPr>
          <p:nvPr/>
        </p:nvCxnSpPr>
        <p:spPr>
          <a:xfrm>
            <a:off x="6061810" y="1888495"/>
            <a:ext cx="703818" cy="1656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2172647" y="4671890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54" name="Rectangle 53"/>
          <p:cNvSpPr/>
          <p:nvPr/>
        </p:nvSpPr>
        <p:spPr bwMode="ltGray">
          <a:xfrm>
            <a:off x="1880216" y="2810799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</a:t>
            </a:r>
            <a:r>
              <a:rPr lang="en-US" sz="1000" dirty="0" smtClean="0">
                <a:solidFill>
                  <a:schemeClr val="tx1"/>
                </a:solidFill>
              </a:rPr>
              <a:t>4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6094887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ltGray">
          <a:xfrm>
            <a:off x="6099624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9" name="Rectangle 58"/>
          <p:cNvSpPr/>
          <p:nvPr/>
        </p:nvSpPr>
        <p:spPr bwMode="ltGray">
          <a:xfrm>
            <a:off x="6099628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6099624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6030487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62" name="TextBox 61"/>
          <p:cNvSpPr txBox="1"/>
          <p:nvPr/>
        </p:nvSpPr>
        <p:spPr>
          <a:xfrm>
            <a:off x="6406744" y="4672250"/>
            <a:ext cx="720000" cy="29943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9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 bwMode="ltGray">
          <a:xfrm>
            <a:off x="6101133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>
            <a:stCxn id="32" idx="2"/>
            <a:endCxn id="25" idx="0"/>
          </p:cNvCxnSpPr>
          <p:nvPr/>
        </p:nvCxnSpPr>
        <p:spPr>
          <a:xfrm flipH="1">
            <a:off x="4300638" y="1881870"/>
            <a:ext cx="488238" cy="16586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urved Right Arrow 64"/>
          <p:cNvSpPr/>
          <p:nvPr/>
        </p:nvSpPr>
        <p:spPr bwMode="ltGray">
          <a:xfrm rot="6988577" flipV="1">
            <a:off x="5952015" y="1159801"/>
            <a:ext cx="206413" cy="771839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66" name="Straight Connector 65"/>
          <p:cNvCxnSpPr>
            <a:stCxn id="42" idx="2"/>
            <a:endCxn id="30" idx="0"/>
          </p:cNvCxnSpPr>
          <p:nvPr/>
        </p:nvCxnSpPr>
        <p:spPr>
          <a:xfrm flipH="1">
            <a:off x="5442699" y="1098887"/>
            <a:ext cx="827" cy="28515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 bwMode="ltGray">
          <a:xfrm>
            <a:off x="4802093" y="581552"/>
            <a:ext cx="1282866" cy="51733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IE" sz="1000" dirty="0" smtClean="0">
                <a:solidFill>
                  <a:schemeClr val="tx1"/>
                </a:solidFill>
              </a:rPr>
              <a:t>TSS R&amp;D Testing</a:t>
            </a:r>
            <a:endParaRPr lang="en-IE" sz="10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8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/>
              <a:t>SA2.0 Curiosity </a:t>
            </a:r>
            <a:r>
              <a:rPr lang="en-US" sz="2000" dirty="0" smtClean="0"/>
              <a:t>PRO H4 &amp; H9 – 5</a:t>
            </a:r>
            <a:r>
              <a:rPr lang="en-US" sz="2000" baseline="30000" dirty="0" smtClean="0"/>
              <a:t>th</a:t>
            </a:r>
            <a:r>
              <a:rPr lang="en-US" sz="2000" dirty="0" smtClean="0"/>
              <a:t> to 8</a:t>
            </a:r>
            <a:r>
              <a:rPr lang="en-US" sz="2000" baseline="30000" dirty="0" smtClean="0"/>
              <a:t>th</a:t>
            </a:r>
            <a:r>
              <a:rPr lang="en-US" sz="2000" dirty="0" smtClean="0"/>
              <a:t> July – IVCC by IT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5708" y="2004003"/>
            <a:ext cx="8208000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79" name="Rectangle 78"/>
          <p:cNvSpPr/>
          <p:nvPr/>
        </p:nvSpPr>
        <p:spPr bwMode="ltGray">
          <a:xfrm>
            <a:off x="468078" y="2757160"/>
            <a:ext cx="8208000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Hadoop -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8208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50" name="Rectangle 49"/>
          <p:cNvSpPr/>
          <p:nvPr/>
        </p:nvSpPr>
        <p:spPr bwMode="ltGray">
          <a:xfrm>
            <a:off x="3634638" y="409611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ltGray">
          <a:xfrm>
            <a:off x="3639375" y="324231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2" name="Rectangle 51"/>
          <p:cNvSpPr/>
          <p:nvPr/>
        </p:nvSpPr>
        <p:spPr bwMode="ltGray">
          <a:xfrm>
            <a:off x="1872507" y="2048867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Temp H4 LLB</a:t>
            </a:r>
          </a:p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rgbClr val="C00000"/>
                </a:solidFill>
              </a:rPr>
              <a:t>storage-pro-h4.itcs.hpe.com</a:t>
            </a:r>
            <a:endParaRPr lang="en-US" sz="700" dirty="0">
              <a:solidFill>
                <a:srgbClr val="C00000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ltGray">
          <a:xfrm>
            <a:off x="3639375" y="281813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6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1874012" y="2377256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C00000"/>
                </a:solidFill>
              </a:rPr>
              <a:t>[c4t22704/05/06]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963766" y="4677071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 bwMode="ltGray">
          <a:xfrm>
            <a:off x="3634638" y="2047737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1872507" y="4090369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ltGray">
          <a:xfrm>
            <a:off x="1872507" y="3224191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29" name="Rectangle 28"/>
          <p:cNvSpPr/>
          <p:nvPr/>
        </p:nvSpPr>
        <p:spPr bwMode="ltGray">
          <a:xfrm>
            <a:off x="1803369" y="1936853"/>
            <a:ext cx="1455149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30" name="Rectangle 29"/>
          <p:cNvSpPr/>
          <p:nvPr/>
        </p:nvSpPr>
        <p:spPr bwMode="ltGray">
          <a:xfrm>
            <a:off x="4638233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5789912" y="171334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>
            <a:off x="4516978" y="1706715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 bwMode="ltGray">
          <a:xfrm>
            <a:off x="2139059" y="427291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Straight Connector 36"/>
          <p:cNvCxnSpPr>
            <a:stCxn id="36" idx="2"/>
            <a:endCxn id="52" idx="0"/>
          </p:cNvCxnSpPr>
          <p:nvPr/>
        </p:nvCxnSpPr>
        <p:spPr>
          <a:xfrm flipH="1">
            <a:off x="2538507" y="1137224"/>
            <a:ext cx="211" cy="9116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ltGray">
          <a:xfrm>
            <a:off x="3632267" y="2368395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53947" y="1226897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47" name="Straight Connector 46"/>
          <p:cNvCxnSpPr>
            <a:stCxn id="31" idx="2"/>
            <a:endCxn id="59" idx="0"/>
          </p:cNvCxnSpPr>
          <p:nvPr/>
        </p:nvCxnSpPr>
        <p:spPr>
          <a:xfrm>
            <a:off x="6061810" y="1888495"/>
            <a:ext cx="703818" cy="1656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2172647" y="4671890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54" name="Rectangle 53"/>
          <p:cNvSpPr/>
          <p:nvPr/>
        </p:nvSpPr>
        <p:spPr bwMode="ltGray">
          <a:xfrm>
            <a:off x="1880216" y="2810799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</a:t>
            </a:r>
            <a:r>
              <a:rPr lang="en-US" sz="1000" dirty="0" smtClean="0">
                <a:solidFill>
                  <a:schemeClr val="tx1"/>
                </a:solidFill>
              </a:rPr>
              <a:t>4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6094887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ltGray">
          <a:xfrm>
            <a:off x="6099624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9" name="Rectangle 58"/>
          <p:cNvSpPr/>
          <p:nvPr/>
        </p:nvSpPr>
        <p:spPr bwMode="ltGray">
          <a:xfrm>
            <a:off x="6099628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6099624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6030487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62" name="TextBox 61"/>
          <p:cNvSpPr txBox="1"/>
          <p:nvPr/>
        </p:nvSpPr>
        <p:spPr>
          <a:xfrm>
            <a:off x="6406744" y="4672250"/>
            <a:ext cx="720000" cy="29943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9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 bwMode="ltGray">
          <a:xfrm>
            <a:off x="6101133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>
            <a:stCxn id="32" idx="2"/>
            <a:endCxn id="25" idx="0"/>
          </p:cNvCxnSpPr>
          <p:nvPr/>
        </p:nvCxnSpPr>
        <p:spPr>
          <a:xfrm flipH="1">
            <a:off x="4300638" y="1881870"/>
            <a:ext cx="488238" cy="16586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urved Right Arrow 64"/>
          <p:cNvSpPr/>
          <p:nvPr/>
        </p:nvSpPr>
        <p:spPr bwMode="ltGray">
          <a:xfrm rot="6988577" flipV="1">
            <a:off x="5952015" y="1159801"/>
            <a:ext cx="206413" cy="771839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66" name="Straight Connector 65"/>
          <p:cNvCxnSpPr>
            <a:stCxn id="70" idx="2"/>
            <a:endCxn id="30" idx="0"/>
          </p:cNvCxnSpPr>
          <p:nvPr/>
        </p:nvCxnSpPr>
        <p:spPr>
          <a:xfrm flipH="1">
            <a:off x="5442699" y="1093579"/>
            <a:ext cx="432" cy="29046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68" idx="2"/>
            <a:endCxn id="25" idx="0"/>
          </p:cNvCxnSpPr>
          <p:nvPr/>
        </p:nvCxnSpPr>
        <p:spPr>
          <a:xfrm>
            <a:off x="3963766" y="1148422"/>
            <a:ext cx="336872" cy="89931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/>
          <p:cNvSpPr/>
          <p:nvPr/>
        </p:nvSpPr>
        <p:spPr bwMode="ltGray">
          <a:xfrm>
            <a:off x="3507847" y="576459"/>
            <a:ext cx="911837" cy="571963"/>
          </a:xfrm>
          <a:prstGeom prst="roundRect">
            <a:avLst/>
          </a:prstGeom>
          <a:solidFill>
            <a:srgbClr val="D1FEB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SS R&amp;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esting after IVCC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7</a:t>
            </a:fld>
            <a:endParaRPr lang="en-US"/>
          </a:p>
        </p:txBody>
      </p:sp>
      <p:sp>
        <p:nvSpPr>
          <p:cNvPr id="70" name="Rounded Rectangle 69"/>
          <p:cNvSpPr/>
          <p:nvPr/>
        </p:nvSpPr>
        <p:spPr bwMode="ltGray">
          <a:xfrm>
            <a:off x="4987212" y="521616"/>
            <a:ext cx="911837" cy="571963"/>
          </a:xfrm>
          <a:prstGeom prst="roundRect">
            <a:avLst/>
          </a:prstGeom>
          <a:solidFill>
            <a:srgbClr val="D1FEB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SS R&amp;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esting after IVCC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11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/>
              <a:t>SA2.0 Curiosity (Domino) </a:t>
            </a:r>
            <a:r>
              <a:rPr lang="en-US" sz="2000" dirty="0" smtClean="0"/>
              <a:t>– HPSD Storage Testing on PRO </a:t>
            </a:r>
            <a:r>
              <a:rPr lang="en-US" sz="2000" dirty="0"/>
              <a:t>H9 (HDP</a:t>
            </a:r>
            <a:r>
              <a:rPr lang="en-US" sz="2000" dirty="0" smtClean="0"/>
              <a:t>)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5708" y="2004003"/>
            <a:ext cx="8208000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79" name="Rectangle 78"/>
          <p:cNvSpPr/>
          <p:nvPr/>
        </p:nvSpPr>
        <p:spPr bwMode="ltGray">
          <a:xfrm>
            <a:off x="468078" y="2757160"/>
            <a:ext cx="8208000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Hadoop -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8208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50" name="Rectangle 49"/>
          <p:cNvSpPr/>
          <p:nvPr/>
        </p:nvSpPr>
        <p:spPr bwMode="ltGray">
          <a:xfrm>
            <a:off x="3634638" y="409611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ltGray">
          <a:xfrm>
            <a:off x="3639375" y="324231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2" name="Rectangle 51"/>
          <p:cNvSpPr/>
          <p:nvPr/>
        </p:nvSpPr>
        <p:spPr bwMode="ltGray">
          <a:xfrm>
            <a:off x="1872507" y="2048867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Temp H4 LLB</a:t>
            </a:r>
          </a:p>
          <a:p>
            <a:pPr algn="ctr">
              <a:lnSpc>
                <a:spcPct val="90000"/>
              </a:lnSpc>
            </a:pPr>
            <a:r>
              <a:rPr lang="en-US" sz="700" dirty="0" smtClean="0">
                <a:solidFill>
                  <a:srgbClr val="C00000"/>
                </a:solidFill>
              </a:rPr>
              <a:t>storage-pro-h4.itcs.hpe.com</a:t>
            </a:r>
            <a:endParaRPr lang="en-US" sz="700" dirty="0">
              <a:solidFill>
                <a:srgbClr val="C00000"/>
              </a:solidFill>
            </a:endParaRPr>
          </a:p>
        </p:txBody>
      </p:sp>
      <p:sp>
        <p:nvSpPr>
          <p:cNvPr id="53" name="Rectangle 52"/>
          <p:cNvSpPr/>
          <p:nvPr/>
        </p:nvSpPr>
        <p:spPr bwMode="ltGray">
          <a:xfrm>
            <a:off x="3639375" y="281813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6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6" name="Rectangle 55"/>
          <p:cNvSpPr/>
          <p:nvPr/>
        </p:nvSpPr>
        <p:spPr bwMode="ltGray">
          <a:xfrm>
            <a:off x="1874012" y="2377256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rgbClr val="C00000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C00000"/>
                </a:solidFill>
              </a:rPr>
              <a:t>[c4t22704/05/06]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963766" y="4677071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 bwMode="ltGray">
          <a:xfrm>
            <a:off x="3634638" y="2047737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1872507" y="4090369"/>
            <a:ext cx="1332000" cy="251287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Map-R (BSD 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ltGray">
          <a:xfrm>
            <a:off x="1872507" y="3224191"/>
            <a:ext cx="1332000" cy="7042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[</a:t>
            </a:r>
            <a:r>
              <a:rPr lang="en-US" sz="1000" dirty="0"/>
              <a:t>Data Tee</a:t>
            </a:r>
            <a:r>
              <a:rPr lang="en-US" sz="1000" dirty="0" smtClean="0"/>
              <a:t>, </a:t>
            </a:r>
            <a:r>
              <a:rPr lang="en-US" sz="1000" dirty="0"/>
              <a:t>ELK, </a:t>
            </a:r>
            <a:r>
              <a:rPr lang="en-US" sz="1000" dirty="0" smtClean="0"/>
              <a:t>Prometheus, KAFKA</a:t>
            </a:r>
            <a:r>
              <a:rPr lang="en-US" sz="1000" dirty="0"/>
              <a:t>, Zookeeper, Elastic </a:t>
            </a:r>
            <a:r>
              <a:rPr lang="en-US" sz="1000" dirty="0" smtClean="0"/>
              <a:t>Search]</a:t>
            </a:r>
            <a:endParaRPr lang="en-US" sz="1000" dirty="0"/>
          </a:p>
        </p:txBody>
      </p:sp>
      <p:sp>
        <p:nvSpPr>
          <p:cNvPr id="29" name="Rectangle 28"/>
          <p:cNvSpPr/>
          <p:nvPr/>
        </p:nvSpPr>
        <p:spPr bwMode="ltGray">
          <a:xfrm>
            <a:off x="1803369" y="1936853"/>
            <a:ext cx="1455149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30" name="Rectangle 29"/>
          <p:cNvSpPr/>
          <p:nvPr/>
        </p:nvSpPr>
        <p:spPr bwMode="ltGray">
          <a:xfrm>
            <a:off x="4638233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5789912" y="171334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>
            <a:off x="4516978" y="1706715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 bwMode="ltGray">
          <a:xfrm>
            <a:off x="2139059" y="427291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Straight Connector 36"/>
          <p:cNvCxnSpPr>
            <a:stCxn id="36" idx="2"/>
            <a:endCxn id="52" idx="0"/>
          </p:cNvCxnSpPr>
          <p:nvPr/>
        </p:nvCxnSpPr>
        <p:spPr>
          <a:xfrm flipH="1">
            <a:off x="2538507" y="1137224"/>
            <a:ext cx="211" cy="91164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ltGray">
          <a:xfrm>
            <a:off x="3632267" y="2368395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53947" y="1226897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47" name="Straight Connector 46"/>
          <p:cNvCxnSpPr>
            <a:stCxn id="31" idx="2"/>
            <a:endCxn id="59" idx="0"/>
          </p:cNvCxnSpPr>
          <p:nvPr/>
        </p:nvCxnSpPr>
        <p:spPr>
          <a:xfrm>
            <a:off x="6061810" y="1888495"/>
            <a:ext cx="703818" cy="1656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2172647" y="4671890"/>
            <a:ext cx="720000" cy="2960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54" name="Rectangle 53"/>
          <p:cNvSpPr/>
          <p:nvPr/>
        </p:nvSpPr>
        <p:spPr bwMode="ltGray">
          <a:xfrm>
            <a:off x="1880216" y="2810799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</a:t>
            </a:r>
            <a:r>
              <a:rPr lang="en-US" sz="1000" dirty="0" smtClean="0">
                <a:solidFill>
                  <a:schemeClr val="tx1"/>
                </a:solidFill>
              </a:rPr>
              <a:t>4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Rectangle 54"/>
          <p:cNvSpPr/>
          <p:nvPr/>
        </p:nvSpPr>
        <p:spPr bwMode="ltGray">
          <a:xfrm>
            <a:off x="6094887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ltGray">
          <a:xfrm>
            <a:off x="6099624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9" name="Rectangle 58"/>
          <p:cNvSpPr/>
          <p:nvPr/>
        </p:nvSpPr>
        <p:spPr bwMode="ltGray">
          <a:xfrm>
            <a:off x="6099628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6099624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6030487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62" name="TextBox 61"/>
          <p:cNvSpPr txBox="1"/>
          <p:nvPr/>
        </p:nvSpPr>
        <p:spPr>
          <a:xfrm>
            <a:off x="6406744" y="4672250"/>
            <a:ext cx="720000" cy="29943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9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Domino)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 bwMode="ltGray">
          <a:xfrm>
            <a:off x="6101133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>
            <a:stCxn id="32" idx="2"/>
            <a:endCxn id="25" idx="0"/>
          </p:cNvCxnSpPr>
          <p:nvPr/>
        </p:nvCxnSpPr>
        <p:spPr>
          <a:xfrm flipH="1">
            <a:off x="4300638" y="1881870"/>
            <a:ext cx="488238" cy="16586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urved Right Arrow 64"/>
          <p:cNvSpPr/>
          <p:nvPr/>
        </p:nvSpPr>
        <p:spPr bwMode="ltGray">
          <a:xfrm rot="6988577" flipV="1">
            <a:off x="5952015" y="1159801"/>
            <a:ext cx="206413" cy="771839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8" name="Rounded Rectangle 47"/>
          <p:cNvSpPr/>
          <p:nvPr/>
        </p:nvSpPr>
        <p:spPr bwMode="ltGray">
          <a:xfrm>
            <a:off x="5044546" y="426558"/>
            <a:ext cx="799318" cy="709933"/>
          </a:xfrm>
          <a:prstGeom prst="roundRect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PS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66" name="Straight Connector 65"/>
          <p:cNvCxnSpPr>
            <a:stCxn id="48" idx="2"/>
            <a:endCxn id="30" idx="0"/>
          </p:cNvCxnSpPr>
          <p:nvPr/>
        </p:nvCxnSpPr>
        <p:spPr>
          <a:xfrm flipH="1">
            <a:off x="5442699" y="1136491"/>
            <a:ext cx="1506" cy="24755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68" idx="2"/>
            <a:endCxn id="25" idx="0"/>
          </p:cNvCxnSpPr>
          <p:nvPr/>
        </p:nvCxnSpPr>
        <p:spPr>
          <a:xfrm>
            <a:off x="3963766" y="1148422"/>
            <a:ext cx="336872" cy="89931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/>
          <p:cNvSpPr/>
          <p:nvPr/>
        </p:nvSpPr>
        <p:spPr bwMode="ltGray">
          <a:xfrm>
            <a:off x="3507847" y="576459"/>
            <a:ext cx="911837" cy="571963"/>
          </a:xfrm>
          <a:prstGeom prst="roundRect">
            <a:avLst/>
          </a:prstGeom>
          <a:solidFill>
            <a:srgbClr val="D1FEB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SS R&amp;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Portal UAT &amp; Beta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8</a:t>
            </a:fld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247165" y="462657"/>
            <a:ext cx="2437374" cy="333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14-July to 29-July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smtClean="0"/>
              <a:t>HPSD </a:t>
            </a:r>
            <a:r>
              <a:rPr lang="en-US" sz="1000" dirty="0" smtClean="0"/>
              <a:t>Storage testing on PRO H9 Hortonworks </a:t>
            </a:r>
            <a:r>
              <a:rPr lang="en-US" sz="1000" dirty="0"/>
              <a:t>environment</a:t>
            </a:r>
            <a:r>
              <a:rPr lang="en-US" sz="10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1503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5859"/>
            <a:ext cx="8227457" cy="308610"/>
          </a:xfrm>
        </p:spPr>
        <p:txBody>
          <a:bodyPr/>
          <a:lstStyle/>
          <a:p>
            <a:r>
              <a:rPr lang="en-US" sz="2000" dirty="0"/>
              <a:t>SA2.0 Curiosity </a:t>
            </a:r>
            <a:r>
              <a:rPr lang="en-US" sz="2000" dirty="0" smtClean="0"/>
              <a:t>PRO environments for TSS R&amp;D Storage DR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 bwMode="ltGray">
          <a:xfrm>
            <a:off x="465708" y="2004003"/>
            <a:ext cx="8208000" cy="71459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79" name="Rectangle 78"/>
          <p:cNvSpPr/>
          <p:nvPr/>
        </p:nvSpPr>
        <p:spPr bwMode="ltGray">
          <a:xfrm>
            <a:off x="468078" y="2757160"/>
            <a:ext cx="8208000" cy="120556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92" name="TextBox 91"/>
          <p:cNvSpPr txBox="1"/>
          <p:nvPr/>
        </p:nvSpPr>
        <p:spPr>
          <a:xfrm>
            <a:off x="554170" y="2394470"/>
            <a:ext cx="834468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Front End</a:t>
            </a:r>
            <a:endParaRPr lang="en-US" sz="1000" dirty="0"/>
          </a:p>
        </p:txBody>
      </p:sp>
      <p:sp>
        <p:nvSpPr>
          <p:cNvPr id="95" name="TextBox 94"/>
          <p:cNvSpPr txBox="1"/>
          <p:nvPr/>
        </p:nvSpPr>
        <p:spPr>
          <a:xfrm>
            <a:off x="553010" y="3292407"/>
            <a:ext cx="835625" cy="371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CSA – </a:t>
            </a:r>
          </a:p>
          <a:p>
            <a:pPr>
              <a:lnSpc>
                <a:spcPct val="90000"/>
              </a:lnSpc>
            </a:pPr>
            <a:r>
              <a:rPr lang="en-IE" sz="1000" dirty="0" smtClean="0"/>
              <a:t>Middle Layer</a:t>
            </a:r>
            <a:endParaRPr lang="en-US" sz="1000" dirty="0"/>
          </a:p>
        </p:txBody>
      </p:sp>
      <p:sp>
        <p:nvSpPr>
          <p:cNvPr id="96" name="TextBox 95"/>
          <p:cNvSpPr txBox="1"/>
          <p:nvPr/>
        </p:nvSpPr>
        <p:spPr>
          <a:xfrm>
            <a:off x="553010" y="4144529"/>
            <a:ext cx="904761" cy="3437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dirty="0" smtClean="0"/>
              <a:t>Hadoop - Hortonworks</a:t>
            </a:r>
            <a:endParaRPr lang="en-US" sz="1000" dirty="0"/>
          </a:p>
        </p:txBody>
      </p:sp>
      <p:sp>
        <p:nvSpPr>
          <p:cNvPr id="98" name="Rectangle 97"/>
          <p:cNvSpPr/>
          <p:nvPr/>
        </p:nvSpPr>
        <p:spPr bwMode="ltGray">
          <a:xfrm>
            <a:off x="466917" y="4025543"/>
            <a:ext cx="8208000" cy="588339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101" name="Rectangle 100"/>
          <p:cNvSpPr/>
          <p:nvPr/>
        </p:nvSpPr>
        <p:spPr bwMode="ltGray">
          <a:xfrm>
            <a:off x="3547242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50" name="Rectangle 49"/>
          <p:cNvSpPr/>
          <p:nvPr/>
        </p:nvSpPr>
        <p:spPr bwMode="ltGray">
          <a:xfrm>
            <a:off x="3634638" y="409611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ltGray">
          <a:xfrm>
            <a:off x="3639375" y="324231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3" name="Rectangle 52"/>
          <p:cNvSpPr/>
          <p:nvPr/>
        </p:nvSpPr>
        <p:spPr bwMode="ltGray">
          <a:xfrm>
            <a:off x="3639375" y="281813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</a:t>
            </a:r>
            <a:r>
              <a:rPr lang="en-US" sz="1000" dirty="0">
                <a:solidFill>
                  <a:schemeClr val="tx1"/>
                </a:solidFill>
              </a:rPr>
              <a:t>curiosity-rest x 6 </a:t>
            </a:r>
            <a:r>
              <a:rPr lang="en-US" sz="1000" dirty="0" err="1">
                <a:solidFill>
                  <a:schemeClr val="tx1"/>
                </a:solidFill>
              </a:rPr>
              <a:t>svrs</a:t>
            </a:r>
            <a:r>
              <a:rPr lang="en-US" sz="1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963766" y="4677071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H4</a:t>
            </a:r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 bwMode="ltGray">
          <a:xfrm>
            <a:off x="3634638" y="2047737"/>
            <a:ext cx="1332000" cy="28835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4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4.itcs.hpe.com</a:t>
            </a:r>
          </a:p>
        </p:txBody>
      </p:sp>
      <p:sp>
        <p:nvSpPr>
          <p:cNvPr id="30" name="Rectangle 29"/>
          <p:cNvSpPr/>
          <p:nvPr/>
        </p:nvSpPr>
        <p:spPr bwMode="ltGray">
          <a:xfrm>
            <a:off x="4638233" y="1384044"/>
            <a:ext cx="1608932" cy="349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GSLB</a:t>
            </a:r>
          </a:p>
          <a:p>
            <a:pPr algn="ctr">
              <a:lnSpc>
                <a:spcPct val="90000"/>
              </a:lnSpc>
            </a:pPr>
            <a:r>
              <a:rPr lang="en-US" sz="800" dirty="0" smtClean="0"/>
              <a:t>sa-curiosity-pro.glb.itcs.hpe.com</a:t>
            </a:r>
            <a:endParaRPr lang="en-US" sz="800" dirty="0"/>
          </a:p>
        </p:txBody>
      </p:sp>
      <p:sp>
        <p:nvSpPr>
          <p:cNvPr id="31" name="TextBox 30"/>
          <p:cNvSpPr txBox="1"/>
          <p:nvPr/>
        </p:nvSpPr>
        <p:spPr>
          <a:xfrm>
            <a:off x="5789912" y="1713340"/>
            <a:ext cx="543796" cy="175155"/>
          </a:xfrm>
          <a:prstGeom prst="rect">
            <a:avLst/>
          </a:prstGeom>
          <a:solidFill>
            <a:srgbClr val="96F496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Active</a:t>
            </a:r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>
            <a:off x="4516978" y="1706715"/>
            <a:ext cx="543796" cy="17515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assive</a:t>
            </a:r>
            <a:endParaRPr lang="en-US" sz="1000" dirty="0"/>
          </a:p>
        </p:txBody>
      </p:sp>
      <p:sp>
        <p:nvSpPr>
          <p:cNvPr id="38" name="Rectangle 37"/>
          <p:cNvSpPr/>
          <p:nvPr/>
        </p:nvSpPr>
        <p:spPr bwMode="ltGray">
          <a:xfrm>
            <a:off x="3632267" y="2368395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 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4t17228/30/32]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53947" y="1226897"/>
            <a:ext cx="1184286" cy="3385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000" b="1" u="sng" dirty="0" smtClean="0"/>
              <a:t>License Plate:</a:t>
            </a:r>
          </a:p>
          <a:p>
            <a:pPr>
              <a:lnSpc>
                <a:spcPct val="90000"/>
              </a:lnSpc>
            </a:pPr>
            <a:r>
              <a:rPr lang="en-US" sz="800" dirty="0" smtClean="0"/>
              <a:t>api.support.hpe.com</a:t>
            </a:r>
            <a:endParaRPr lang="en-US" sz="800" dirty="0"/>
          </a:p>
        </p:txBody>
      </p:sp>
      <p:cxnSp>
        <p:nvCxnSpPr>
          <p:cNvPr id="47" name="Straight Connector 46"/>
          <p:cNvCxnSpPr>
            <a:stCxn id="31" idx="2"/>
            <a:endCxn id="59" idx="0"/>
          </p:cNvCxnSpPr>
          <p:nvPr/>
        </p:nvCxnSpPr>
        <p:spPr>
          <a:xfrm>
            <a:off x="6061810" y="1888495"/>
            <a:ext cx="703818" cy="1656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 bwMode="ltGray">
          <a:xfrm>
            <a:off x="6094887" y="4090369"/>
            <a:ext cx="1332000" cy="453711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Hortonworks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(HDP-BSD-I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ltGray">
          <a:xfrm>
            <a:off x="6099624" y="3236568"/>
            <a:ext cx="1332000" cy="66390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>
              <a:lnSpc>
                <a:spcPct val="90000"/>
              </a:lnSpc>
            </a:pPr>
            <a:r>
              <a:rPr lang="en-US" sz="1000" b="1" dirty="0" smtClean="0"/>
              <a:t>CSA - Middle Layer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Data Tee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EL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1000" dirty="0" smtClean="0"/>
              <a:t>Prometheus</a:t>
            </a:r>
            <a:endParaRPr lang="en-US" sz="1000" dirty="0"/>
          </a:p>
        </p:txBody>
      </p:sp>
      <p:sp>
        <p:nvSpPr>
          <p:cNvPr id="59" name="Rectangle 58"/>
          <p:cNvSpPr/>
          <p:nvPr/>
        </p:nvSpPr>
        <p:spPr bwMode="ltGray">
          <a:xfrm>
            <a:off x="6099628" y="2054114"/>
            <a:ext cx="1332000" cy="2880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H9 LLB</a:t>
            </a:r>
          </a:p>
          <a:p>
            <a:pPr algn="ctr">
              <a:lnSpc>
                <a:spcPct val="90000"/>
              </a:lnSpc>
            </a:pPr>
            <a:r>
              <a:rPr lang="en-US" sz="700" dirty="0"/>
              <a:t>curiosity-pro-h9.itcs.hpe.com</a:t>
            </a:r>
          </a:p>
        </p:txBody>
      </p:sp>
      <p:sp>
        <p:nvSpPr>
          <p:cNvPr id="60" name="Rectangle 59"/>
          <p:cNvSpPr/>
          <p:nvPr/>
        </p:nvSpPr>
        <p:spPr bwMode="ltGray">
          <a:xfrm>
            <a:off x="6099624" y="2812388"/>
            <a:ext cx="1332000" cy="35437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REST APIs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(curiosity-rest x 6 </a:t>
            </a:r>
            <a:r>
              <a:rPr lang="en-US" sz="1000" dirty="0" err="1" smtClean="0">
                <a:solidFill>
                  <a:schemeClr val="tx1"/>
                </a:solidFill>
              </a:rPr>
              <a:t>svrs</a:t>
            </a:r>
            <a:r>
              <a:rPr lang="en-US" sz="1000" dirty="0" smtClean="0">
                <a:solidFill>
                  <a:schemeClr val="tx1"/>
                </a:solidFill>
              </a:rPr>
              <a:t>)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ltGray">
          <a:xfrm>
            <a:off x="6030487" y="1936852"/>
            <a:ext cx="1478468" cy="2736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>
              <a:lnSpc>
                <a:spcPct val="90000"/>
              </a:lnSpc>
            </a:pPr>
            <a:endParaRPr lang="en-US" sz="1100" dirty="0" smtClean="0"/>
          </a:p>
        </p:txBody>
      </p:sp>
      <p:sp>
        <p:nvSpPr>
          <p:cNvPr id="63" name="Rectangle 62"/>
          <p:cNvSpPr/>
          <p:nvPr/>
        </p:nvSpPr>
        <p:spPr bwMode="ltGray">
          <a:xfrm>
            <a:off x="6101133" y="2382503"/>
            <a:ext cx="1332000" cy="30624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Apache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[c9t197229/31/22400]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4" name="Straight Connector 63"/>
          <p:cNvCxnSpPr>
            <a:stCxn id="32" idx="2"/>
            <a:endCxn id="25" idx="0"/>
          </p:cNvCxnSpPr>
          <p:nvPr/>
        </p:nvCxnSpPr>
        <p:spPr>
          <a:xfrm flipH="1">
            <a:off x="4300638" y="1881870"/>
            <a:ext cx="488238" cy="16586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urved Right Arrow 64"/>
          <p:cNvSpPr/>
          <p:nvPr/>
        </p:nvSpPr>
        <p:spPr bwMode="ltGray">
          <a:xfrm rot="6988577" flipV="1">
            <a:off x="5952015" y="1159801"/>
            <a:ext cx="206413" cy="771839"/>
          </a:xfrm>
          <a:prstGeom prst="curvedRightArrow">
            <a:avLst/>
          </a:prstGeom>
          <a:solidFill>
            <a:srgbClr val="FFC00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66" name="Straight Connector 65"/>
          <p:cNvCxnSpPr>
            <a:stCxn id="68" idx="2"/>
            <a:endCxn id="30" idx="0"/>
          </p:cNvCxnSpPr>
          <p:nvPr/>
        </p:nvCxnSpPr>
        <p:spPr>
          <a:xfrm>
            <a:off x="5436639" y="1046683"/>
            <a:ext cx="6060" cy="33736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/>
          <p:cNvSpPr/>
          <p:nvPr/>
        </p:nvSpPr>
        <p:spPr bwMode="ltGray">
          <a:xfrm>
            <a:off x="4980720" y="474720"/>
            <a:ext cx="911837" cy="571963"/>
          </a:xfrm>
          <a:prstGeom prst="roundRect">
            <a:avLst/>
          </a:prstGeom>
          <a:solidFill>
            <a:srgbClr val="D1FEB0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TSS R&amp;D</a:t>
            </a:r>
          </a:p>
          <a:p>
            <a:pPr algn="ctr">
              <a:lnSpc>
                <a:spcPct val="90000"/>
              </a:lnSpc>
            </a:pPr>
            <a:r>
              <a:rPr lang="en-IE" sz="1200" dirty="0" smtClean="0">
                <a:solidFill>
                  <a:schemeClr val="tx1"/>
                </a:solidFill>
              </a:rPr>
              <a:t>Storage DR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9</a:t>
            </a:fld>
            <a:endParaRPr lang="en-US"/>
          </a:p>
        </p:txBody>
      </p:sp>
      <p:sp>
        <p:nvSpPr>
          <p:cNvPr id="69" name="TextBox 68"/>
          <p:cNvSpPr txBox="1"/>
          <p:nvPr/>
        </p:nvSpPr>
        <p:spPr>
          <a:xfrm>
            <a:off x="6160914" y="462657"/>
            <a:ext cx="2512794" cy="8915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u="sng" dirty="0" smtClean="0"/>
              <a:t>Date ???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smtClean="0"/>
              <a:t>Deploy All Repos on PRO H9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dirty="0" smtClean="0"/>
              <a:t>Date ???</a:t>
            </a:r>
            <a:r>
              <a:rPr lang="en-IE" sz="1000" dirty="0" smtClean="0"/>
              <a:t> </a:t>
            </a:r>
            <a:r>
              <a:rPr lang="en-IE" sz="1000" dirty="0" smtClean="0"/>
              <a:t>– Turn Replication “ON” 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dirty="0" smtClean="0"/>
              <a:t>Date ???</a:t>
            </a:r>
            <a:r>
              <a:rPr lang="en-IE" sz="1000" dirty="0" smtClean="0"/>
              <a:t> </a:t>
            </a:r>
            <a:r>
              <a:rPr lang="en-IE" sz="1000" dirty="0"/>
              <a:t>– </a:t>
            </a:r>
            <a:r>
              <a:rPr lang="en-IE" sz="1000" dirty="0" smtClean="0"/>
              <a:t>Complete initial fail over/fail-back testing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en-IE" sz="1000" b="1" dirty="0" smtClean="0"/>
              <a:t>Date ???</a:t>
            </a:r>
            <a:r>
              <a:rPr lang="en-IE" sz="1000" dirty="0" smtClean="0"/>
              <a:t> </a:t>
            </a:r>
            <a:r>
              <a:rPr lang="en-US" sz="1000" dirty="0" smtClean="0"/>
              <a:t>– Go live with DR in PRO</a:t>
            </a:r>
          </a:p>
        </p:txBody>
      </p:sp>
      <p:sp>
        <p:nvSpPr>
          <p:cNvPr id="70" name="Pentagon 69"/>
          <p:cNvSpPr/>
          <p:nvPr/>
        </p:nvSpPr>
        <p:spPr bwMode="ltGray">
          <a:xfrm flipH="1">
            <a:off x="5097208" y="4088388"/>
            <a:ext cx="878079" cy="453711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sz="800" dirty="0" smtClean="0">
                <a:solidFill>
                  <a:schemeClr val="tx1"/>
                </a:solidFill>
              </a:rPr>
              <a:t>Replication “ON”</a:t>
            </a:r>
            <a:endParaRPr lang="en-US" sz="800" dirty="0" err="1" smtClean="0">
              <a:solidFill>
                <a:schemeClr val="tx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400887" y="4678708"/>
            <a:ext cx="720000" cy="299431"/>
          </a:xfrm>
          <a:prstGeom prst="rect">
            <a:avLst/>
          </a:prstGeom>
          <a:solidFill>
            <a:srgbClr val="D1FEB0"/>
          </a:solidFill>
          <a:ln>
            <a:solidFill>
              <a:schemeClr val="tx1"/>
            </a:solidFill>
          </a:ln>
        </p:spPr>
        <p:txBody>
          <a:bodyPr wrap="square" lIns="36000" tIns="0" rIns="3600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000" dirty="0" smtClean="0"/>
              <a:t>PRO </a:t>
            </a:r>
            <a:r>
              <a:rPr lang="en-IE" sz="1000" dirty="0" smtClean="0"/>
              <a:t>H9</a:t>
            </a:r>
            <a:endParaRPr lang="en-IE" sz="1000" dirty="0" smtClean="0"/>
          </a:p>
          <a:p>
            <a:pPr algn="ctr">
              <a:lnSpc>
                <a:spcPct val="90000"/>
              </a:lnSpc>
            </a:pPr>
            <a:r>
              <a:rPr lang="en-IE" sz="1000" dirty="0" smtClean="0"/>
              <a:t>(All Repos)</a:t>
            </a:r>
            <a:endParaRPr lang="en-US" sz="1000" dirty="0"/>
          </a:p>
        </p:txBody>
      </p:sp>
      <p:sp>
        <p:nvSpPr>
          <p:cNvPr id="73" name="Octagon 72"/>
          <p:cNvSpPr/>
          <p:nvPr/>
        </p:nvSpPr>
        <p:spPr bwMode="ltGray">
          <a:xfrm>
            <a:off x="5305276" y="1711412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3</a:t>
            </a:r>
            <a:endParaRPr lang="en-US" dirty="0" err="1" smtClean="0"/>
          </a:p>
        </p:txBody>
      </p:sp>
      <p:sp>
        <p:nvSpPr>
          <p:cNvPr id="74" name="Octagon 73"/>
          <p:cNvSpPr/>
          <p:nvPr/>
        </p:nvSpPr>
        <p:spPr bwMode="ltGray">
          <a:xfrm>
            <a:off x="3636806" y="4700598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 smtClean="0"/>
              <a:t>1</a:t>
            </a:r>
            <a:endParaRPr lang="en-US" dirty="0" err="1" smtClean="0"/>
          </a:p>
        </p:txBody>
      </p:sp>
      <p:sp>
        <p:nvSpPr>
          <p:cNvPr id="75" name="Octagon 74"/>
          <p:cNvSpPr/>
          <p:nvPr/>
        </p:nvSpPr>
        <p:spPr bwMode="ltGray">
          <a:xfrm>
            <a:off x="5490560" y="4492548"/>
            <a:ext cx="325882" cy="334238"/>
          </a:xfrm>
          <a:prstGeom prst="octagon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IE" dirty="0"/>
              <a:t>2</a:t>
            </a: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93308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V1dUZuqESSkAHDeOcU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miUgOw0KfTbVbxD0ZEw"/>
</p:tagLst>
</file>

<file path=ppt/theme/theme1.xml><?xml version="1.0" encoding="utf-8"?>
<a:theme xmlns:a="http://schemas.openxmlformats.org/drawingml/2006/main" name="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HPSimplified_2012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anchor="t" anchorCtr="0">
        <a:normAutofit/>
      </a:bodyPr>
      <a:lstStyle>
        <a:defPPr marL="342900" indent="-342900">
          <a:buFont typeface="Arial" pitchFamily="34" charset="0"/>
          <a:buChar char="•"/>
          <a:defRPr sz="20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HP2014">
  <a:themeElements>
    <a:clrScheme name="HP PowerPoint 20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P2014" id="{3312928A-1B5C-4C54-9C41-E3D1E3489988}" vid="{D852783E-B8B2-41FD-A33A-44EA1AEAB2B6}"/>
    </a:ext>
  </a:extLst>
</a:theme>
</file>

<file path=ppt/theme/theme7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Presentation1" id="{B0FEB128-5DDF-4F06-A7F8-9FCD19E0FC21}" vid="{58426F3F-9944-4280-AF07-007FABED665D}"/>
    </a:ext>
  </a:extLst>
</a:theme>
</file>

<file path=ppt/theme/theme8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_PPT_Standard_template_16x9</Template>
  <TotalTime>219003</TotalTime>
  <Words>1258</Words>
  <Application>Microsoft Office PowerPoint</Application>
  <PresentationFormat>On-screen Show (16:9)</PresentationFormat>
  <Paragraphs>40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Calibri</vt:lpstr>
      <vt:lpstr>Futura Bk</vt:lpstr>
      <vt:lpstr>Gill Sans</vt:lpstr>
      <vt:lpstr>HP Simplified</vt:lpstr>
      <vt:lpstr>Lucida Grande</vt:lpstr>
      <vt:lpstr>ヒラギノ角ゴ ProN W3</vt:lpstr>
      <vt:lpstr>HP_PPT_Standard_template_16x9</vt:lpstr>
      <vt:lpstr>1_HP_PPT_Standard_template_16x9</vt:lpstr>
      <vt:lpstr>2_HP_PPT_Standard_template_16x9</vt:lpstr>
      <vt:lpstr>HPSimplified_2012</vt:lpstr>
      <vt:lpstr>3_HP_PPT_Standard_template_16x9</vt:lpstr>
      <vt:lpstr>HP2014</vt:lpstr>
      <vt:lpstr>HPE_Standard_Arial_16x9_v2</vt:lpstr>
      <vt:lpstr>think-cell Slide</vt:lpstr>
      <vt:lpstr>SA2.0 Curiosity – Production Environment Plan</vt:lpstr>
      <vt:lpstr>SA2.0 Curiosity (Domino) PRO H9 (Hortonworks) - testing timeline</vt:lpstr>
      <vt:lpstr>SA2.0 Curiosity (Domino) PRO H4 (MapR) &amp; H9 (HDP) – current</vt:lpstr>
      <vt:lpstr>SA2.0 Curiosity PRO H4 (MapR) – move HPSD Storage to Temp H4 LLB</vt:lpstr>
      <vt:lpstr>Steps to Reconfigure from PRO GSLB to Temp PRO H4 LLB</vt:lpstr>
      <vt:lpstr>SA2.0 Curiosity (Domino) PRO H9 (HDP)  - switch Active to H9</vt:lpstr>
      <vt:lpstr>SA2.0 Curiosity PRO H4 &amp; H9 – 5th to 8th July – IVCC by IT</vt:lpstr>
      <vt:lpstr>SA2.0 Curiosity (Domino) – HPSD Storage Testing on PRO H9 (HDP)</vt:lpstr>
      <vt:lpstr>SA2.0 Curiosity PRO environments for TSS R&amp;D Storage DR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2.0 Curiosity ITG H9 &amp; H4 environment configuration changes</dc:title>
  <dc:creator>adrian.krug@hpe.com</dc:creator>
  <cp:lastModifiedBy>Kilgarriff, Tom</cp:lastModifiedBy>
  <cp:revision>802</cp:revision>
  <cp:lastPrinted>2016-06-01T14:43:40Z</cp:lastPrinted>
  <dcterms:created xsi:type="dcterms:W3CDTF">2013-05-17T08:04:31Z</dcterms:created>
  <dcterms:modified xsi:type="dcterms:W3CDTF">2016-06-01T15:55:12Z</dcterms:modified>
</cp:coreProperties>
</file>